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4459" r:id="rId4"/>
    <p:sldMasterId id="2147484615" r:id="rId5"/>
    <p:sldMasterId id="2147484764" r:id="rId6"/>
    <p:sldMasterId id="2147485011" r:id="rId7"/>
    <p:sldMasterId id="2147485023" r:id="rId8"/>
    <p:sldMasterId id="2147485200" r:id="rId9"/>
    <p:sldMasterId id="2147485316" r:id="rId10"/>
    <p:sldMasterId id="2147485332" r:id="rId11"/>
    <p:sldMasterId id="2147485384" r:id="rId12"/>
    <p:sldMasterId id="2147485395" r:id="rId13"/>
    <p:sldMasterId id="2147485412" r:id="rId14"/>
  </p:sldMasterIdLst>
  <p:notesMasterIdLst>
    <p:notesMasterId r:id="rId17"/>
  </p:notesMasterIdLst>
  <p:handoutMasterIdLst>
    <p:handoutMasterId r:id="rId18"/>
  </p:handoutMasterIdLst>
  <p:sldIdLst>
    <p:sldId id="2147470191" r:id="rId15"/>
    <p:sldId id="2147470192" r:id="rId16"/>
  </p:sldIdLst>
  <p:sldSz cx="12192000" cy="6858000"/>
  <p:notesSz cx="7102475" cy="9388475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NISTÈRIEL" id="{0B896E98-F45E-4768-8620-EDDF394BE181}">
          <p14:sldIdLst>
            <p14:sldId id="2147470191"/>
            <p14:sldId id="214747019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676B529-E46F-A159-A1ED-7C0AD047D826}" name="Morgane BERTHELOT" initials="MB" userId="S::morgane.berthelot@esante.gouv.fr::36f676e7-17f8-448a-9108-07baac64dd31" providerId="AD"/>
  <p188:author id="{F8C3E830-3B0B-948A-77EF-2D1BF61150DD}" name="Laure JALLET" initials="LJ" userId="Laure JALLET" providerId="None"/>
  <p188:author id="{99B7593A-7B6B-CDE9-ACB5-2825A4112E02}" name="Sylvia EL KHOURY" initials="SK" userId="S::sylvia.el-khoury.ext@esante.gouv.fr::fd62296b-33a7-45e8-a1bd-b3ecc9cad2b2" providerId="AD"/>
  <p188:author id="{FF9ACC73-3F02-F448-08EC-10B6571D8227}" name="Sylvia EL KHOURY" initials="SEK" userId="Sylvia EL KHOURY" providerId="None"/>
  <p188:author id="{B912F29E-7CF6-FF50-A277-30A0511E2C6F}" name="GENARD Caroline" initials="GC" userId="S::caroline.genard@mazars.fr::330ee51f-f964-44ef-9018-4f58eb997e31" providerId="AD"/>
  <p188:author id="{D8F414AC-76AF-F0D5-79BE-AA625768E166}" name="Mehdi ZINE" initials="MZ" userId="S::Mehdi.ZINE@esante.gouv.fr::ea1b4a29-24bb-4d1c-baed-be8d868458ab" providerId="AD"/>
  <p188:author id="{10EC3BD3-44E4-E592-3168-7652DE42201A}" name="MARTIN Loïs" initials="ML" userId="S::lois.martin@mazars.fr::61796e1f-2f33-47c3-9d3d-59db6f568d19" providerId="AD"/>
  <p188:author id="{34ECBBE3-EE36-EE4E-F195-E2042FB32249}" name="Morgane BERTHELOT" initials="MB" userId="S::Morgane.BERTHELOT@esante.gouv.fr::36f676e7-17f8-448a-9108-07baac64dd31" providerId="AD"/>
  <p188:author id="{770618F8-28DD-34C7-CD02-5D025E8371CF}" name="Fanny HANNAUX" initials="FH" userId="S::fanny.hannaux@esante.gouv.fr::d59ad06e-1bb0-4ebf-940b-c28bedced359" providerId="AD"/>
  <p188:author id="{458951FE-8BE4-40B4-9FE4-0984CD3C3B39}" name="Fanny HANNAUX" initials="FH" userId="S::Fanny.HANNAUX@esante.gouv.fr::d59ad06e-1bb0-4ebf-940b-c28bedced35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AMET, Odile (DNS)" initials="JO(" lastIdx="49" clrIdx="6">
    <p:extLst>
      <p:ext uri="{19B8F6BF-5375-455C-9EA6-DF929625EA0E}">
        <p15:presenceInfo xmlns:p15="http://schemas.microsoft.com/office/powerpoint/2012/main" userId="S-1-5-21-27022435-3177379373-3347635678-22622" providerId="AD"/>
      </p:ext>
    </p:extLst>
  </p:cmAuthor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8" name="LEXTRAY Noemie" initials="LN" lastIdx="1" clrIdx="7">
    <p:extLst>
      <p:ext uri="{19B8F6BF-5375-455C-9EA6-DF929625EA0E}">
        <p15:presenceInfo xmlns:p15="http://schemas.microsoft.com/office/powerpoint/2012/main" userId="S::noemie.lextray@mazars.fr::075c009f-4dc1-4854-a0c0-23a8a85f20b8" providerId="AD"/>
      </p:ext>
    </p:extLst>
  </p:cmAuthor>
  <p:cmAuthor id="2" name="Edouard Paya" initials="EP" lastIdx="3" clrIdx="1">
    <p:extLst>
      <p:ext uri="{19B8F6BF-5375-455C-9EA6-DF929625EA0E}">
        <p15:presenceInfo xmlns:p15="http://schemas.microsoft.com/office/powerpoint/2012/main" userId="Edouard Paya" providerId="None"/>
      </p:ext>
    </p:extLst>
  </p:cmAuthor>
  <p:cmAuthor id="9" name="PERIANO Juliette" initials="PJ" lastIdx="2" clrIdx="8">
    <p:extLst>
      <p:ext uri="{19B8F6BF-5375-455C-9EA6-DF929625EA0E}">
        <p15:presenceInfo xmlns:p15="http://schemas.microsoft.com/office/powerpoint/2012/main" userId="S::juliette.periano@mazars.fr::32706ae4-0157-4d86-b0a0-3be0765c9d0d" providerId="AD"/>
      </p:ext>
    </p:extLst>
  </p:cmAuthor>
  <p:cmAuthor id="3" name="Sophie MOREAU-FAVIER" initials="SM" lastIdx="13" clrIdx="2">
    <p:extLst>
      <p:ext uri="{19B8F6BF-5375-455C-9EA6-DF929625EA0E}">
        <p15:presenceInfo xmlns:p15="http://schemas.microsoft.com/office/powerpoint/2012/main" userId="S-1-5-21-3334185378-18229324-514618537-5475" providerId="AD"/>
      </p:ext>
    </p:extLst>
  </p:cmAuthor>
  <p:cmAuthor id="10" name="Morgane BERTHELOT" initials="MB" lastIdx="3" clrIdx="9">
    <p:extLst>
      <p:ext uri="{19B8F6BF-5375-455C-9EA6-DF929625EA0E}">
        <p15:presenceInfo xmlns:p15="http://schemas.microsoft.com/office/powerpoint/2012/main" userId="S::Morgane.BERTHELOT@esante.gouv.fr::36f676e7-17f8-448a-9108-07baac64dd31" providerId="AD"/>
      </p:ext>
    </p:extLst>
  </p:cmAuthor>
  <p:cmAuthor id="4" name="RAGON Séverine" initials="RS" lastIdx="1" clrIdx="3">
    <p:extLst>
      <p:ext uri="{19B8F6BF-5375-455C-9EA6-DF929625EA0E}">
        <p15:presenceInfo xmlns:p15="http://schemas.microsoft.com/office/powerpoint/2012/main" userId="S::severine.ragon@mazars.fr::8e95cd8b-ab0b-489c-9844-689c9dab7331" providerId="AD"/>
      </p:ext>
    </p:extLst>
  </p:cmAuthor>
  <p:cmAuthor id="11" name="DAZINIERAS-PICHON, Anne (DNS)" initials="DA(" lastIdx="29" clrIdx="10">
    <p:extLst>
      <p:ext uri="{19B8F6BF-5375-455C-9EA6-DF929625EA0E}">
        <p15:presenceInfo xmlns:p15="http://schemas.microsoft.com/office/powerpoint/2012/main" userId="S-1-5-21-27022435-3177379373-3347635678-113249" providerId="AD"/>
      </p:ext>
    </p:extLst>
  </p:cmAuthor>
  <p:cmAuthor id="5" name="DNS" initials="DNS" lastIdx="6" clrIdx="4">
    <p:extLst>
      <p:ext uri="{19B8F6BF-5375-455C-9EA6-DF929625EA0E}">
        <p15:presenceInfo xmlns:p15="http://schemas.microsoft.com/office/powerpoint/2012/main" userId="DNS" providerId="None"/>
      </p:ext>
    </p:extLst>
  </p:cmAuthor>
  <p:cmAuthor id="12" name="MARTIN Loïs" initials="ML" lastIdx="7" clrIdx="11">
    <p:extLst>
      <p:ext uri="{19B8F6BF-5375-455C-9EA6-DF929625EA0E}">
        <p15:presenceInfo xmlns:p15="http://schemas.microsoft.com/office/powerpoint/2012/main" userId="S::lois.martin@mazars.fr::61796e1f-2f33-47c3-9d3d-59db6f568d19" providerId="AD"/>
      </p:ext>
    </p:extLst>
  </p:cmAuthor>
  <p:cmAuthor id="6" name="DANYACH Myriam" initials="DM" lastIdx="2" clrIdx="5">
    <p:extLst>
      <p:ext uri="{19B8F6BF-5375-455C-9EA6-DF929625EA0E}">
        <p15:presenceInfo xmlns:p15="http://schemas.microsoft.com/office/powerpoint/2012/main" userId="S-1-5-21-73586283-1343024091-725345543-128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AB2"/>
    <a:srgbClr val="4472C4"/>
    <a:srgbClr val="787878"/>
    <a:srgbClr val="E9EDF4"/>
    <a:srgbClr val="D5EEFF"/>
    <a:srgbClr val="ED7B00"/>
    <a:srgbClr val="E8E8EC"/>
    <a:srgbClr val="D0D8E8"/>
    <a:srgbClr val="93D3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D2292E-FB89-C8DC-EF8E-18BFAE183A74}" v="21" dt="2023-09-14T12:11:10.3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3"/>
    <p:restoredTop sz="94712"/>
  </p:normalViewPr>
  <p:slideViewPr>
    <p:cSldViewPr snapToGrid="0">
      <p:cViewPr varScale="1">
        <p:scale>
          <a:sx n="107" d="100"/>
          <a:sy n="107" d="100"/>
        </p:scale>
        <p:origin x="7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C5896C-B94A-4C21-A7ED-34881BCF6C15}" type="datetime3">
              <a:rPr lang="fr-FR" smtClean="0"/>
              <a:t>14.09.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0C260405-D558-400C-97B8-7A85B159A8F8}" type="datetime3">
              <a:rPr lang="fr-FR" smtClean="0"/>
              <a:t>14.09.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86B55D-0986-4742-9C5A-FC485A967F7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748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86B55D-0986-4742-9C5A-FC485A967F7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0550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image" Target="../media/image1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4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9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image" Target="../media/image5.png"/><Relationship Id="rId4" Type="http://schemas.openxmlformats.org/officeDocument/2006/relationships/tags" Target="../tags/tag100.xml"/><Relationship Id="rId9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image" Target="../media/image5.png"/><Relationship Id="rId4" Type="http://schemas.openxmlformats.org/officeDocument/2006/relationships/tags" Target="../tags/tag105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2.xml"/><Relationship Id="rId11" Type="http://schemas.openxmlformats.org/officeDocument/2006/relationships/image" Target="../media/image1.emf"/><Relationship Id="rId5" Type="http://schemas.openxmlformats.org/officeDocument/2006/relationships/tags" Target="../tags/tag11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10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10" Type="http://schemas.openxmlformats.org/officeDocument/2006/relationships/image" Target="../media/image3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image" Target="../media/image3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1.xml"/><Relationship Id="rId11" Type="http://schemas.openxmlformats.org/officeDocument/2006/relationships/image" Target="../media/image2.png"/><Relationship Id="rId5" Type="http://schemas.openxmlformats.org/officeDocument/2006/relationships/tags" Target="../tags/tag130.xml"/><Relationship Id="rId10" Type="http://schemas.openxmlformats.org/officeDocument/2006/relationships/image" Target="../media/image3.emf"/><Relationship Id="rId4" Type="http://schemas.openxmlformats.org/officeDocument/2006/relationships/tags" Target="../tags/tag129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image" Target="../media/image2.png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1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3.emf"/><Relationship Id="rId4" Type="http://schemas.openxmlformats.org/officeDocument/2006/relationships/tags" Target="../tags/tag31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96.xml"/><Relationship Id="rId5" Type="http://schemas.openxmlformats.org/officeDocument/2006/relationships/tags" Target="../tags/tag195.xml"/><Relationship Id="rId10" Type="http://schemas.openxmlformats.org/officeDocument/2006/relationships/image" Target="../media/image1.emf"/><Relationship Id="rId4" Type="http://schemas.openxmlformats.org/officeDocument/2006/relationships/tags" Target="../tags/tag194.xml"/><Relationship Id="rId9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9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02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20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4" Type="http://schemas.openxmlformats.org/officeDocument/2006/relationships/tags" Target="../tags/tag205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12.xml"/><Relationship Id="rId11" Type="http://schemas.openxmlformats.org/officeDocument/2006/relationships/image" Target="../media/image2.png"/><Relationship Id="rId5" Type="http://schemas.openxmlformats.org/officeDocument/2006/relationships/tags" Target="../tags/tag211.xml"/><Relationship Id="rId10" Type="http://schemas.openxmlformats.org/officeDocument/2006/relationships/image" Target="../media/image4.emf"/><Relationship Id="rId4" Type="http://schemas.openxmlformats.org/officeDocument/2006/relationships/tags" Target="../tags/tag210.xml"/><Relationship Id="rId9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18.xml"/><Relationship Id="rId11" Type="http://schemas.openxmlformats.org/officeDocument/2006/relationships/image" Target="../media/image2.png"/><Relationship Id="rId5" Type="http://schemas.openxmlformats.org/officeDocument/2006/relationships/tags" Target="../tags/tag217.xml"/><Relationship Id="rId10" Type="http://schemas.openxmlformats.org/officeDocument/2006/relationships/image" Target="../media/image1.emf"/><Relationship Id="rId4" Type="http://schemas.openxmlformats.org/officeDocument/2006/relationships/tags" Target="../tags/tag216.xml"/><Relationship Id="rId9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22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24.xml"/><Relationship Id="rId5" Type="http://schemas.openxmlformats.org/officeDocument/2006/relationships/tags" Target="../tags/tag223.xml"/><Relationship Id="rId10" Type="http://schemas.openxmlformats.org/officeDocument/2006/relationships/image" Target="../media/image2.png"/><Relationship Id="rId4" Type="http://schemas.openxmlformats.org/officeDocument/2006/relationships/tags" Target="../tags/tag222.xml"/><Relationship Id="rId9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6.xml"/><Relationship Id="rId7" Type="http://schemas.openxmlformats.org/officeDocument/2006/relationships/image" Target="../media/image3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2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32.xml"/><Relationship Id="rId11" Type="http://schemas.openxmlformats.org/officeDocument/2006/relationships/image" Target="../media/image4.emf"/><Relationship Id="rId5" Type="http://schemas.openxmlformats.org/officeDocument/2006/relationships/tags" Target="../tags/tag231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30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39.xml"/><Relationship Id="rId11" Type="http://schemas.openxmlformats.org/officeDocument/2006/relationships/image" Target="../media/image1.emf"/><Relationship Id="rId5" Type="http://schemas.openxmlformats.org/officeDocument/2006/relationships/tags" Target="../tags/tag238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7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46.xml"/><Relationship Id="rId5" Type="http://schemas.openxmlformats.org/officeDocument/2006/relationships/tags" Target="../tags/tag245.xml"/><Relationship Id="rId10" Type="http://schemas.openxmlformats.org/officeDocument/2006/relationships/image" Target="../media/image1.emf"/><Relationship Id="rId4" Type="http://schemas.openxmlformats.org/officeDocument/2006/relationships/tags" Target="../tags/tag244.xml"/><Relationship Id="rId9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3.emf"/><Relationship Id="rId4" Type="http://schemas.openxmlformats.org/officeDocument/2006/relationships/tags" Target="../tags/tag37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69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10" Type="http://schemas.openxmlformats.org/officeDocument/2006/relationships/image" Target="../media/image2.png"/><Relationship Id="rId4" Type="http://schemas.openxmlformats.org/officeDocument/2006/relationships/tags" Target="../tags/tag270.xml"/><Relationship Id="rId9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77.xml"/><Relationship Id="rId5" Type="http://schemas.openxmlformats.org/officeDocument/2006/relationships/tags" Target="../tags/tag276.xml"/><Relationship Id="rId10" Type="http://schemas.openxmlformats.org/officeDocument/2006/relationships/image" Target="../media/image1.emf"/><Relationship Id="rId4" Type="http://schemas.openxmlformats.org/officeDocument/2006/relationships/tags" Target="../tags/tag275.xml"/><Relationship Id="rId9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03.xml"/><Relationship Id="rId11" Type="http://schemas.openxmlformats.org/officeDocument/2006/relationships/image" Target="../media/image17.png"/><Relationship Id="rId5" Type="http://schemas.openxmlformats.org/officeDocument/2006/relationships/tags" Target="../tags/tag302.xml"/><Relationship Id="rId10" Type="http://schemas.openxmlformats.org/officeDocument/2006/relationships/image" Target="../media/image16.png"/><Relationship Id="rId4" Type="http://schemas.openxmlformats.org/officeDocument/2006/relationships/tags" Target="../tags/tag301.xml"/><Relationship Id="rId9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08.xml"/><Relationship Id="rId5" Type="http://schemas.openxmlformats.org/officeDocument/2006/relationships/tags" Target="../tags/tag307.xml"/><Relationship Id="rId10" Type="http://schemas.openxmlformats.org/officeDocument/2006/relationships/image" Target="../media/image1.emf"/><Relationship Id="rId4" Type="http://schemas.openxmlformats.org/officeDocument/2006/relationships/tags" Target="../tags/tag306.xml"/><Relationship Id="rId9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3.emf"/><Relationship Id="rId4" Type="http://schemas.openxmlformats.org/officeDocument/2006/relationships/tags" Target="../tags/tag43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tags" Target="../tags/tag51.xml"/><Relationship Id="rId11" Type="http://schemas.openxmlformats.org/officeDocument/2006/relationships/image" Target="../media/image3.emf"/><Relationship Id="rId5" Type="http://schemas.openxmlformats.org/officeDocument/2006/relationships/tags" Target="../tags/tag5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13" Type="http://schemas.openxmlformats.org/officeDocument/2006/relationships/image" Target="../media/image31.png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12" Type="http://schemas.openxmlformats.org/officeDocument/2006/relationships/image" Target="../media/image30.png"/><Relationship Id="rId2" Type="http://schemas.openxmlformats.org/officeDocument/2006/relationships/tags" Target="../tags/tag316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20.xml"/><Relationship Id="rId11" Type="http://schemas.openxmlformats.org/officeDocument/2006/relationships/image" Target="../media/image29.png"/><Relationship Id="rId5" Type="http://schemas.openxmlformats.org/officeDocument/2006/relationships/tags" Target="../tags/tag319.xml"/><Relationship Id="rId10" Type="http://schemas.openxmlformats.org/officeDocument/2006/relationships/image" Target="../media/image1.emf"/><Relationship Id="rId4" Type="http://schemas.openxmlformats.org/officeDocument/2006/relationships/tags" Target="../tags/tag318.xml"/><Relationship Id="rId9" Type="http://schemas.openxmlformats.org/officeDocument/2006/relationships/oleObject" Target="../embeddings/oleObject39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43.xml"/><Relationship Id="rId7" Type="http://schemas.openxmlformats.org/officeDocument/2006/relationships/slideMaster" Target="../slideMasters/slideMaster8.xml"/><Relationship Id="rId12" Type="http://schemas.openxmlformats.org/officeDocument/2006/relationships/image" Target="../media/image33.png"/><Relationship Id="rId2" Type="http://schemas.openxmlformats.org/officeDocument/2006/relationships/tags" Target="../tags/tag342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46.xml"/><Relationship Id="rId11" Type="http://schemas.openxmlformats.org/officeDocument/2006/relationships/image" Target="../media/image32.png"/><Relationship Id="rId5" Type="http://schemas.openxmlformats.org/officeDocument/2006/relationships/tags" Target="../tags/tag345.xml"/><Relationship Id="rId10" Type="http://schemas.openxmlformats.org/officeDocument/2006/relationships/image" Target="../media/image29.png"/><Relationship Id="rId4" Type="http://schemas.openxmlformats.org/officeDocument/2006/relationships/tags" Target="../tags/tag344.xml"/><Relationship Id="rId9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13" Type="http://schemas.openxmlformats.org/officeDocument/2006/relationships/image" Target="../media/image29.png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image" Target="../media/image35.png"/><Relationship Id="rId2" Type="http://schemas.openxmlformats.org/officeDocument/2006/relationships/tags" Target="../tags/tag347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51.xml"/><Relationship Id="rId11" Type="http://schemas.openxmlformats.org/officeDocument/2006/relationships/image" Target="../media/image34.png"/><Relationship Id="rId5" Type="http://schemas.openxmlformats.org/officeDocument/2006/relationships/tags" Target="../tags/tag350.xml"/><Relationship Id="rId10" Type="http://schemas.openxmlformats.org/officeDocument/2006/relationships/image" Target="../media/image1.emf"/><Relationship Id="rId4" Type="http://schemas.openxmlformats.org/officeDocument/2006/relationships/tags" Target="../tags/tag349.xml"/><Relationship Id="rId9" Type="http://schemas.openxmlformats.org/officeDocument/2006/relationships/oleObject" Target="../embeddings/oleObject42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13" Type="http://schemas.openxmlformats.org/officeDocument/2006/relationships/image" Target="../media/image29.png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image" Target="../media/image35.png"/><Relationship Id="rId2" Type="http://schemas.openxmlformats.org/officeDocument/2006/relationships/tags" Target="../tags/tag353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57.xml"/><Relationship Id="rId11" Type="http://schemas.openxmlformats.org/officeDocument/2006/relationships/image" Target="../media/image34.png"/><Relationship Id="rId5" Type="http://schemas.openxmlformats.org/officeDocument/2006/relationships/tags" Target="../tags/tag356.xml"/><Relationship Id="rId10" Type="http://schemas.openxmlformats.org/officeDocument/2006/relationships/image" Target="../media/image1.emf"/><Relationship Id="rId4" Type="http://schemas.openxmlformats.org/officeDocument/2006/relationships/tags" Target="../tags/tag355.xml"/><Relationship Id="rId9" Type="http://schemas.openxmlformats.org/officeDocument/2006/relationships/oleObject" Target="../embeddings/oleObject43.bin"/><Relationship Id="rId14" Type="http://schemas.openxmlformats.org/officeDocument/2006/relationships/image" Target="../media/image36.jpe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60.xml"/><Relationship Id="rId7" Type="http://schemas.openxmlformats.org/officeDocument/2006/relationships/slideMaster" Target="../slideMasters/slideMaster8.xml"/><Relationship Id="rId12" Type="http://schemas.openxmlformats.org/officeDocument/2006/relationships/image" Target="../media/image33.png"/><Relationship Id="rId2" Type="http://schemas.openxmlformats.org/officeDocument/2006/relationships/tags" Target="../tags/tag359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63.xml"/><Relationship Id="rId11" Type="http://schemas.openxmlformats.org/officeDocument/2006/relationships/image" Target="../media/image32.png"/><Relationship Id="rId5" Type="http://schemas.openxmlformats.org/officeDocument/2006/relationships/tags" Target="../tags/tag362.xml"/><Relationship Id="rId10" Type="http://schemas.openxmlformats.org/officeDocument/2006/relationships/image" Target="../media/image29.png"/><Relationship Id="rId4" Type="http://schemas.openxmlformats.org/officeDocument/2006/relationships/tags" Target="../tags/tag361.xml"/><Relationship Id="rId9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13" Type="http://schemas.openxmlformats.org/officeDocument/2006/relationships/image" Target="../media/image31.png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12" Type="http://schemas.openxmlformats.org/officeDocument/2006/relationships/image" Target="../media/image30.png"/><Relationship Id="rId2" Type="http://schemas.openxmlformats.org/officeDocument/2006/relationships/tags" Target="../tags/tag364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68.xml"/><Relationship Id="rId11" Type="http://schemas.openxmlformats.org/officeDocument/2006/relationships/image" Target="../media/image29.png"/><Relationship Id="rId5" Type="http://schemas.openxmlformats.org/officeDocument/2006/relationships/tags" Target="../tags/tag367.xml"/><Relationship Id="rId10" Type="http://schemas.openxmlformats.org/officeDocument/2006/relationships/image" Target="../media/image1.emf"/><Relationship Id="rId4" Type="http://schemas.openxmlformats.org/officeDocument/2006/relationships/tags" Target="../tags/tag366.xml"/><Relationship Id="rId9" Type="http://schemas.openxmlformats.org/officeDocument/2006/relationships/oleObject" Target="../embeddings/oleObject45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13" Type="http://schemas.openxmlformats.org/officeDocument/2006/relationships/image" Target="../media/image1.emf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12" Type="http://schemas.openxmlformats.org/officeDocument/2006/relationships/oleObject" Target="../embeddings/oleObject46.bin"/><Relationship Id="rId2" Type="http://schemas.openxmlformats.org/officeDocument/2006/relationships/tags" Target="../tags/tag370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74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373.xml"/><Relationship Id="rId10" Type="http://schemas.openxmlformats.org/officeDocument/2006/relationships/tags" Target="../tags/tag378.xml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oleObject" Target="../embeddings/oleObject47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80.xml"/><Relationship Id="rId7" Type="http://schemas.openxmlformats.org/officeDocument/2006/relationships/tags" Target="../tags/tag384.xml"/><Relationship Id="rId2" Type="http://schemas.openxmlformats.org/officeDocument/2006/relationships/tags" Target="../tags/tag379.xml"/><Relationship Id="rId1" Type="http://schemas.openxmlformats.org/officeDocument/2006/relationships/vmlDrawing" Target="../drawings/vmlDrawing47.vml"/><Relationship Id="rId6" Type="http://schemas.openxmlformats.org/officeDocument/2006/relationships/tags" Target="../tags/tag383.xml"/><Relationship Id="rId5" Type="http://schemas.openxmlformats.org/officeDocument/2006/relationships/tags" Target="../tags/tag382.xml"/><Relationship Id="rId10" Type="http://schemas.openxmlformats.org/officeDocument/2006/relationships/image" Target="../media/image1.emf"/><Relationship Id="rId4" Type="http://schemas.openxmlformats.org/officeDocument/2006/relationships/tags" Target="../tags/tag381.xml"/><Relationship Id="rId9" Type="http://schemas.openxmlformats.org/officeDocument/2006/relationships/oleObject" Target="../embeddings/oleObject4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oleObject" Target="../embeddings/oleObject50.bin"/><Relationship Id="rId2" Type="http://schemas.openxmlformats.org/officeDocument/2006/relationships/tags" Target="../tags/tag385.xml"/><Relationship Id="rId1" Type="http://schemas.openxmlformats.org/officeDocument/2006/relationships/vmlDrawing" Target="../drawings/vmlDrawing48.vml"/><Relationship Id="rId6" Type="http://schemas.openxmlformats.org/officeDocument/2006/relationships/tags" Target="../tags/tag389.xml"/><Relationship Id="rId11" Type="http://schemas.openxmlformats.org/officeDocument/2006/relationships/image" Target="../media/image1.emf"/><Relationship Id="rId5" Type="http://schemas.openxmlformats.org/officeDocument/2006/relationships/tags" Target="../tags/tag388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87.xml"/><Relationship Id="rId9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3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2.png"/><Relationship Id="rId2" Type="http://schemas.openxmlformats.org/officeDocument/2006/relationships/tags" Target="../tags/tag61.xml"/><Relationship Id="rId1" Type="http://schemas.openxmlformats.org/officeDocument/2006/relationships/vmlDrawing" Target="../drawings/vmlDrawing8.vml"/><Relationship Id="rId6" Type="http://schemas.openxmlformats.org/officeDocument/2006/relationships/tags" Target="../tags/tag65.xml"/><Relationship Id="rId11" Type="http://schemas.openxmlformats.org/officeDocument/2006/relationships/image" Target="../media/image1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3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26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image" Target="../media/image2.png"/><Relationship Id="rId5" Type="http://schemas.openxmlformats.org/officeDocument/2006/relationships/tags" Target="../tags/tag71.xml"/><Relationship Id="rId10" Type="http://schemas.openxmlformats.org/officeDocument/2006/relationships/image" Target="../media/image3.emf"/><Relationship Id="rId4" Type="http://schemas.openxmlformats.org/officeDocument/2006/relationships/tags" Target="../tags/tag70.xml"/><Relationship Id="rId9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7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2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54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fr-FR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8594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15684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38AF43-4DAF-43BF-BB99-320937CECCF5}"/>
              </a:ext>
            </a:extLst>
          </p:cNvPr>
          <p:cNvSpPr/>
          <p:nvPr userDrawn="1"/>
        </p:nvSpPr>
        <p:spPr>
          <a:xfrm>
            <a:off x="551940" y="2343150"/>
            <a:ext cx="11640059" cy="45148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75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37059" y="5710318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38200" y="4473559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8200" y="2998296"/>
            <a:ext cx="944053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44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A83601BE-FC27-76A3-E69E-DEA041DB24C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0" y="588990"/>
            <a:ext cx="4419637" cy="123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023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5F193C-E268-4733-AD80-A691EB7202AB}"/>
              </a:ext>
            </a:extLst>
          </p:cNvPr>
          <p:cNvSpPr/>
          <p:nvPr userDrawn="1"/>
        </p:nvSpPr>
        <p:spPr>
          <a:xfrm>
            <a:off x="2933700" y="2381251"/>
            <a:ext cx="9258299" cy="4476750"/>
          </a:xfrm>
          <a:prstGeom prst="rect">
            <a:avLst/>
          </a:prstGeom>
          <a:solidFill>
            <a:schemeClr val="tx2">
              <a:alpha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817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>
          <a:xfrm>
            <a:off x="3332609" y="5710318"/>
            <a:ext cx="8420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>
          <a:xfrm>
            <a:off x="3333750" y="4816459"/>
            <a:ext cx="8420100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fr-FR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3333750" y="3341196"/>
            <a:ext cx="8420100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sz="4400" cap="all" baseline="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AF1FD742-D35E-27D6-586B-496D9694876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0" y="588990"/>
            <a:ext cx="4419637" cy="123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6866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10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fr-FR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58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249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A8CFFB9-B451-4FA2-B50D-BE8D26AFB40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60F8CD6-D954-4852-A01C-8EE78D7BCD9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BA12C34-29EE-43F5-92CC-2CB2B2F15E9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8396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334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wrap="square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8C49D00-8AF8-47FC-A768-2DE070D207C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3323A4-CF0F-4263-9EBE-761D7961B97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B32D78-7EB9-4764-B0AD-58E3C6F7904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153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46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884682"/>
            <a:ext cx="9697339" cy="384721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E00A51F-BAB5-4E2F-8F8F-B8655162D38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597243-D2CB-4FF3-ABBF-573AD9425AB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5BADCBC-553E-4CE5-8A13-806DE45F5F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B0E46473-033D-E108-53E2-85CBF30D905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8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5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8A37BD45-02C1-4679-89C7-50402EEF7A4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C07CB87-6971-49CB-8B51-75BC009744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4B76FC-74B5-4A62-9765-3A37F541669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65EC1E4B-0629-5F3F-8FDF-FD98AB4713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356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19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0AB3B0-3E8A-4B9A-8E2A-D0C6E1E39013}"/>
              </a:ext>
            </a:extLst>
          </p:cNvPr>
          <p:cNvSpPr>
            <a:spLocks/>
          </p:cNvSpPr>
          <p:nvPr userDrawn="1"/>
        </p:nvSpPr>
        <p:spPr>
          <a:xfrm>
            <a:off x="8678174" y="315896"/>
            <a:ext cx="3513826" cy="99201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295C8F6D-C67E-421A-8D2E-79CA39ED867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5. Source" hidden="1">
            <a:extLst>
              <a:ext uri="{FF2B5EF4-FFF2-40B4-BE49-F238E27FC236}">
                <a16:creationId xmlns:a16="http://schemas.microsoft.com/office/drawing/2014/main" id="{00622CB3-E4F1-4395-B23F-6C7D626CDB3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>
                <a:solidFill>
                  <a:schemeClr val="tx2"/>
                </a:solidFill>
              </a:rPr>
              <a:t>Source: …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ED74EF0-8FE0-482D-BCD5-59FB38F4FFC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C413486D-6605-C0A9-3214-728E3C81D6C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3363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642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13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5729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A8CFFB9-B451-4FA2-B50D-BE8D26AFB40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60F8CD6-D954-4852-A01C-8EE78D7BCD9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BA12C34-29EE-43F5-92CC-2CB2B2F15E9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17398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258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665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464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Diapositive think-cell" r:id="rId8" imgW="592" imgH="591" progId="TCLayout.ActiveDocument.1">
                  <p:embed/>
                </p:oleObj>
              </mc:Choice>
              <mc:Fallback>
                <p:oleObj name="Diapositive think-cell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CA8CFFB9-B451-4FA2-B50D-BE8D26AFB40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E60F8CD6-D954-4852-A01C-8EE78D7BCD9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BA12C34-29EE-43F5-92CC-2CB2B2F15E9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0209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4604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Diapositive think-cell" r:id="rId8" imgW="592" imgH="591" progId="TCLayout.ActiveDocument.1">
                  <p:embed/>
                </p:oleObj>
              </mc:Choice>
              <mc:Fallback>
                <p:oleObj name="Diapositive think-cell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wrap="square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8C49D00-8AF8-47FC-A768-2DE070D207C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3323A4-CF0F-4263-9EBE-761D7961B97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B32D78-7EB9-4764-B0AD-58E3C6F7904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3474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659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Diapositive think-cell" r:id="rId9" imgW="572" imgH="588" progId="TCLayout.ActiveDocument.1">
                  <p:embed/>
                </p:oleObj>
              </mc:Choice>
              <mc:Fallback>
                <p:oleObj name="Diapositive think-cell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6967728" cy="3847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8FDD733-5B86-4D3A-8384-6C6DF21B0A9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50BF5A9-3E10-4FD7-BBBD-AC3DE27383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AD96AEA-D46E-4DD3-8EFD-5CEBB3A24B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58AAD5B-6554-4D11-BAB9-B8069992E435}"/>
              </a:ext>
            </a:extLst>
          </p:cNvPr>
          <p:cNvCxnSpPr/>
          <p:nvPr userDrawn="1"/>
        </p:nvCxnSpPr>
        <p:spPr>
          <a:xfrm>
            <a:off x="7830312" y="1467293"/>
            <a:ext cx="0" cy="461453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CA90C097-379D-F828-09B1-28459FDF1FD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0043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20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7918704" cy="3847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FFEEF882-5F04-4A45-B71F-9A0A6D64E2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E55A1F2-AD34-44A1-9271-15E2C735F39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9D22CB-24E0-465D-B880-3436C7A0DC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EC5098-4C96-42B9-8C63-81818ADDE3BB}"/>
              </a:ext>
            </a:extLst>
          </p:cNvPr>
          <p:cNvCxnSpPr/>
          <p:nvPr userDrawn="1"/>
        </p:nvCxnSpPr>
        <p:spPr>
          <a:xfrm>
            <a:off x="8781416" y="1467293"/>
            <a:ext cx="0" cy="461453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2878433-738B-6C17-DCC9-6948DD9D275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2455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71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Diapositive think-cell" r:id="rId8" imgW="592" imgH="591" progId="TCLayout.ActiveDocument.1">
                  <p:embed/>
                </p:oleObj>
              </mc:Choice>
              <mc:Fallback>
                <p:oleObj name="Diapositive think-cell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884682"/>
            <a:ext cx="9697339" cy="384721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E00A51F-BAB5-4E2F-8F8F-B8655162D38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597243-D2CB-4FF3-ABBF-573AD9425AB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5BADCBC-553E-4CE5-8A13-806DE45F5F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FB09C01A-80D5-0AC6-A922-B198EAA3500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11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56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Diapositive think-cell" r:id="rId6" imgW="592" imgH="591" progId="TCLayout.ActiveDocument.1">
                  <p:embed/>
                </p:oleObj>
              </mc:Choice>
              <mc:Fallback>
                <p:oleObj name="Diapositive think-cell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">
            <a:extLst>
              <a:ext uri="{FF2B5EF4-FFF2-40B4-BE49-F238E27FC236}">
                <a16:creationId xmlns:a16="http://schemas.microsoft.com/office/drawing/2014/main" id="{8A37BD45-02C1-4679-89C7-50402EEF7A4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C07CB87-6971-49CB-8B51-75BC0097442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4B76FC-74B5-4A62-9765-3A37F541669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3A247E8B-75E1-3A5E-38E8-BD476595B6B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0961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732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Diapositive think-cell" r:id="rId10" imgW="572" imgH="588" progId="TCLayout.ActiveDocument.1">
                  <p:embed/>
                </p:oleObj>
              </mc:Choice>
              <mc:Fallback>
                <p:oleObj name="Diapositive think-cell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Bahnschrift Condensed" panose="020B0502040204020203" pitchFamily="34" charset="0"/>
              <a:ea typeface="+mj-ea"/>
              <a:cs typeface="+mj-cs"/>
              <a:sym typeface="Bahnschrift Condensed" panose="020B0502040204020203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58613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lang="fr-FR" sz="1800" b="0" kern="1200" dirty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fr-FR" sz="800" b="0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69CB329B-FA73-736D-3A9D-185FE5A9143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523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14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Diapositive think-cell" r:id="rId10" imgW="413" imgH="416" progId="TCLayout.ActiveDocument.1">
                  <p:embed/>
                </p:oleObj>
              </mc:Choice>
              <mc:Fallback>
                <p:oleObj name="Diapositive think-cell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89578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7776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75360" y="6483366"/>
            <a:ext cx="685723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fr-FR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71DC13-8E70-48E8-BA5F-5FB5C14C374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6464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6712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SU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fr-FR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28571" y="272147"/>
            <a:ext cx="9357687" cy="568786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8570" y="907032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23277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23277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3862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wrap="square"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8C49D00-8AF8-47FC-A768-2DE070D207C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3323A4-CF0F-4263-9EBE-761D7961B97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1B32D78-7EB9-4764-B0AD-58E3C6F7904F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677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38AF43-4DAF-43BF-BB99-320937CECCF5}"/>
              </a:ext>
            </a:extLst>
          </p:cNvPr>
          <p:cNvSpPr/>
          <p:nvPr userDrawn="1"/>
        </p:nvSpPr>
        <p:spPr>
          <a:xfrm>
            <a:off x="551940" y="2343150"/>
            <a:ext cx="11640059" cy="45148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37059" y="5710318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38200" y="4473559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8200" y="2998296"/>
            <a:ext cx="944053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44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A876C3AF-BFD4-1946-BA3B-A9078FABEDC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0" y="537720"/>
            <a:ext cx="4634648" cy="1291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3623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1" dirty="0">
                <a:solidFill>
                  <a:schemeClr val="accent3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8097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4CCD0D6-98C2-4AAE-ADBE-C607DEFF0C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0BB7D6A-C45B-6B48-9BD3-CFD6EA615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FE9533E-9CE2-324D-A41F-D2E4F3F44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3DB64A-1C1C-BF47-A3D4-B7605F30A8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22666-14E7-4E03-8F17-EC67BE68269C}" type="datetime1">
              <a:rPr lang="fr-FR" smtClean="0"/>
              <a:t>14/09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77367B-7943-4944-AC3E-3B1D332C4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6B3409D-656E-5D47-9AF8-637389083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E0697-29D8-F54C-BC64-65304C5A908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9B3A3B-FB4C-4390-B3AC-4DC5E39C88F3}"/>
              </a:ext>
            </a:extLst>
          </p:cNvPr>
          <p:cNvSpPr txBox="1"/>
          <p:nvPr userDrawn="1"/>
        </p:nvSpPr>
        <p:spPr>
          <a:xfrm>
            <a:off x="4940300" y="6591300"/>
            <a:ext cx="2311400" cy="2667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200">
                <a:solidFill>
                  <a:schemeClr val="accent1"/>
                </a:solidFill>
              </a:rPr>
              <a:t>VERSION DE TRAVAIL</a:t>
            </a:r>
            <a:endParaRPr lang="en-US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4896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20A7842-E5CA-8090-D305-1915E5A8C6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200" y="1328975"/>
            <a:ext cx="5943600" cy="420005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3DFCC200-892A-0DF8-E178-EF4AF6DEEA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039" y="330202"/>
            <a:ext cx="717805" cy="107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23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IO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93E34316-F826-20D1-D07F-1571975E9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7361" y="6092412"/>
            <a:ext cx="407238" cy="45593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2AECF7E-5A1A-F3C5-6D23-6162EFC82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702799" cy="6864643"/>
          </a:xfrm>
          <a:prstGeom prst="rect">
            <a:avLst/>
          </a:prstGeom>
        </p:spPr>
      </p:pic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20A7842-E5CA-8090-D305-1915E5A8C6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241" y="5896678"/>
            <a:ext cx="1022831" cy="722784"/>
          </a:xfrm>
          <a:prstGeom prst="rect">
            <a:avLst/>
          </a:prstGeom>
        </p:spPr>
      </p:pic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2F27928C-79A3-2596-B759-0C3E0C0E0478}"/>
              </a:ext>
            </a:extLst>
          </p:cNvPr>
          <p:cNvSpPr txBox="1">
            <a:spLocks/>
          </p:cNvSpPr>
          <p:nvPr userDrawn="1"/>
        </p:nvSpPr>
        <p:spPr>
          <a:xfrm>
            <a:off x="11286744" y="6137814"/>
            <a:ext cx="746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1572C93-D471-4A47-B0C0-72AF048CE4AC}" type="slidenum">
              <a:rPr lang="fr-FR" sz="900" b="0" i="0" smtClean="0">
                <a:solidFill>
                  <a:srgbClr val="3C57A3"/>
                </a:solidFill>
                <a:latin typeface="Marianne Light" panose="02000000000000000000" pitchFamily="2" charset="0"/>
              </a:rPr>
              <a:pPr algn="ctr"/>
              <a:t>‹N°›</a:t>
            </a:fld>
            <a:endParaRPr lang="fr-FR" sz="900" b="0" i="0">
              <a:solidFill>
                <a:srgbClr val="3C57A3"/>
              </a:solidFill>
              <a:latin typeface="Marianne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15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I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93E34316-F826-20D1-D07F-1571975E9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7361" y="6092412"/>
            <a:ext cx="407238" cy="45593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2AECF7E-5A1A-F3C5-6D23-6162EFC82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702797" cy="6864643"/>
          </a:xfrm>
          <a:prstGeom prst="rect">
            <a:avLst/>
          </a:prstGeom>
        </p:spPr>
      </p:pic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20A7842-E5CA-8090-D305-1915E5A8C6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241" y="5896678"/>
            <a:ext cx="1022831" cy="722784"/>
          </a:xfrm>
          <a:prstGeom prst="rect">
            <a:avLst/>
          </a:prstGeom>
        </p:spPr>
      </p:pic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2F27928C-79A3-2596-B759-0C3E0C0E0478}"/>
              </a:ext>
            </a:extLst>
          </p:cNvPr>
          <p:cNvSpPr txBox="1">
            <a:spLocks/>
          </p:cNvSpPr>
          <p:nvPr userDrawn="1"/>
        </p:nvSpPr>
        <p:spPr>
          <a:xfrm>
            <a:off x="11286744" y="6137814"/>
            <a:ext cx="746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1572C93-D471-4A47-B0C0-72AF048CE4AC}" type="slidenum">
              <a:rPr lang="fr-FR" sz="900" b="0" i="0" smtClean="0">
                <a:solidFill>
                  <a:srgbClr val="3C57A3"/>
                </a:solidFill>
                <a:latin typeface="Marianne Light" panose="02000000000000000000" pitchFamily="2" charset="0"/>
              </a:rPr>
              <a:pPr algn="ctr"/>
              <a:t>‹N°›</a:t>
            </a:fld>
            <a:endParaRPr lang="fr-FR" sz="900" b="0" i="0">
              <a:solidFill>
                <a:srgbClr val="3C57A3"/>
              </a:solidFill>
              <a:latin typeface="Marianne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76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IO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93E34316-F826-20D1-D07F-1571975E9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7361" y="6092412"/>
            <a:ext cx="407238" cy="45593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2AECF7E-5A1A-F3C5-6D23-6162EFC82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702796" cy="6864642"/>
          </a:xfrm>
          <a:prstGeom prst="rect">
            <a:avLst/>
          </a:prstGeom>
        </p:spPr>
      </p:pic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20A7842-E5CA-8090-D305-1915E5A8C6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241" y="5896678"/>
            <a:ext cx="1022831" cy="722784"/>
          </a:xfrm>
          <a:prstGeom prst="rect">
            <a:avLst/>
          </a:prstGeom>
        </p:spPr>
      </p:pic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2F27928C-79A3-2596-B759-0C3E0C0E0478}"/>
              </a:ext>
            </a:extLst>
          </p:cNvPr>
          <p:cNvSpPr txBox="1">
            <a:spLocks/>
          </p:cNvSpPr>
          <p:nvPr userDrawn="1"/>
        </p:nvSpPr>
        <p:spPr>
          <a:xfrm>
            <a:off x="11286744" y="6137814"/>
            <a:ext cx="746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1572C93-D471-4A47-B0C0-72AF048CE4AC}" type="slidenum">
              <a:rPr lang="fr-FR" sz="900" b="0" i="0" smtClean="0">
                <a:solidFill>
                  <a:srgbClr val="3C57A3"/>
                </a:solidFill>
                <a:latin typeface="Marianne Light" panose="02000000000000000000" pitchFamily="2" charset="0"/>
              </a:rPr>
              <a:pPr algn="ctr"/>
              <a:t>‹N°›</a:t>
            </a:fld>
            <a:endParaRPr lang="fr-FR" sz="900" b="0" i="0">
              <a:solidFill>
                <a:srgbClr val="3C57A3"/>
              </a:solidFill>
              <a:latin typeface="Marianne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822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IO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93E34316-F826-20D1-D07F-1571975E9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47361" y="6092412"/>
            <a:ext cx="407238" cy="45593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2AECF7E-5A1A-F3C5-6D23-6162EFC82C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702796" cy="6864641"/>
          </a:xfrm>
          <a:prstGeom prst="rect">
            <a:avLst/>
          </a:prstGeom>
        </p:spPr>
      </p:pic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320A7842-E5CA-8090-D305-1915E5A8C6E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241" y="5896678"/>
            <a:ext cx="1022831" cy="722784"/>
          </a:xfrm>
          <a:prstGeom prst="rect">
            <a:avLst/>
          </a:prstGeom>
        </p:spPr>
      </p:pic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2F27928C-79A3-2596-B759-0C3E0C0E0478}"/>
              </a:ext>
            </a:extLst>
          </p:cNvPr>
          <p:cNvSpPr txBox="1">
            <a:spLocks/>
          </p:cNvSpPr>
          <p:nvPr userDrawn="1"/>
        </p:nvSpPr>
        <p:spPr>
          <a:xfrm>
            <a:off x="11286744" y="6137814"/>
            <a:ext cx="746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1572C93-D471-4A47-B0C0-72AF048CE4AC}" type="slidenum">
              <a:rPr lang="fr-FR" sz="900" b="0" i="0" smtClean="0">
                <a:solidFill>
                  <a:srgbClr val="3C57A3"/>
                </a:solidFill>
                <a:latin typeface="Marianne Light" panose="02000000000000000000" pitchFamily="2" charset="0"/>
              </a:rPr>
              <a:pPr algn="ctr"/>
              <a:t>‹N°›</a:t>
            </a:fld>
            <a:endParaRPr lang="fr-FR" sz="900" b="0" i="0">
              <a:solidFill>
                <a:srgbClr val="3C57A3"/>
              </a:solidFill>
              <a:latin typeface="Marianne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653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38AF43-4DAF-43BF-BB99-320937CECCF5}"/>
              </a:ext>
            </a:extLst>
          </p:cNvPr>
          <p:cNvSpPr/>
          <p:nvPr userDrawn="1"/>
        </p:nvSpPr>
        <p:spPr>
          <a:xfrm>
            <a:off x="551940" y="2343150"/>
            <a:ext cx="11640059" cy="45148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37059" y="5710318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38200" y="4473559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8200" y="2998296"/>
            <a:ext cx="944053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44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DBC26FA-5491-CC99-C394-C26D4633B46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28"/>
          <a:stretch/>
        </p:blipFill>
        <p:spPr bwMode="auto">
          <a:xfrm>
            <a:off x="258792" y="189288"/>
            <a:ext cx="3260785" cy="1156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3CD46F9-BAFB-7D4E-ACC6-865F6D36CE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1294"/>
          <a:stretch/>
        </p:blipFill>
        <p:spPr bwMode="auto">
          <a:xfrm>
            <a:off x="11283351" y="0"/>
            <a:ext cx="908648" cy="135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963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1" dirty="0">
                <a:solidFill>
                  <a:schemeClr val="accent3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429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4395019" y="4103391"/>
            <a:ext cx="7242245" cy="1354217"/>
          </a:xfrm>
        </p:spPr>
        <p:txBody>
          <a:bodyPr wrap="square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D3B5CF6-D26A-449D-91D0-DBF9826945E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5872030B-855D-4957-8595-E303B238C8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chemeClr val="tx1"/>
              </a:buClr>
            </a:pPr>
            <a:r>
              <a:rPr lang="fr-FR">
                <a:solidFill>
                  <a:schemeClr val="tx1"/>
                </a:solidFill>
              </a:rPr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C710139-C9F3-4C6C-820F-1A0B3EF7FA7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F5F038A-5B38-448F-B35A-0D354E748CB1}"/>
              </a:ext>
            </a:extLst>
          </p:cNvPr>
          <p:cNvCxnSpPr>
            <a:cxnSpLocks/>
          </p:cNvCxnSpPr>
          <p:nvPr userDrawn="1"/>
        </p:nvCxnSpPr>
        <p:spPr>
          <a:xfrm>
            <a:off x="4114800" y="5609486"/>
            <a:ext cx="3619500" cy="0"/>
          </a:xfrm>
          <a:prstGeom prst="line">
            <a:avLst/>
          </a:prstGeom>
          <a:ln w="19050" cap="rnd">
            <a:gradFill>
              <a:gsLst>
                <a:gs pos="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72605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4CCD0D6-98C2-4AAE-ADBE-C607DEFF0C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 err="1">
              <a:solidFill>
                <a:schemeClr val="bg1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0BB7D6A-C45B-6B48-9BD3-CFD6EA615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FE9533E-9CE2-324D-A41F-D2E4F3F440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3DB64A-1C1C-BF47-A3D4-B7605F30A8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22666-14E7-4E03-8F17-EC67BE68269C}" type="datetime1">
              <a:rPr lang="fr-FR" smtClean="0"/>
              <a:t>14/09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77367B-7943-4944-AC3E-3B1D332C4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6B3409D-656E-5D47-9AF8-637389083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8E0697-29D8-F54C-BC64-65304C5A908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9B3A3B-FB4C-4390-B3AC-4DC5E39C88F3}"/>
              </a:ext>
            </a:extLst>
          </p:cNvPr>
          <p:cNvSpPr txBox="1"/>
          <p:nvPr userDrawn="1"/>
        </p:nvSpPr>
        <p:spPr>
          <a:xfrm>
            <a:off x="4940300" y="6591300"/>
            <a:ext cx="2311400" cy="2667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fr-FR" sz="1200">
                <a:solidFill>
                  <a:schemeClr val="accent1"/>
                </a:solidFill>
              </a:rPr>
              <a:t>VERSION DE TRAVAIL</a:t>
            </a:r>
            <a:endParaRPr lang="en-US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7945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5551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545004" y="6333323"/>
            <a:ext cx="9235315" cy="365125"/>
          </a:xfrm>
        </p:spPr>
        <p:txBody>
          <a:bodyPr/>
          <a:lstStyle/>
          <a:p>
            <a:r>
              <a:rPr lang="fr-FR">
                <a:latin typeface="Arial"/>
                <a:ea typeface="+mn-ea"/>
              </a:rPr>
              <a:t>Démarche d’audit des critères ENS 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37356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66785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14443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50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35816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Démarche d’audit des critères ENS </a:t>
            </a:r>
          </a:p>
        </p:txBody>
      </p:sp>
    </p:spTree>
    <p:extLst>
      <p:ext uri="{BB962C8B-B14F-4D97-AF65-F5344CB8AC3E}">
        <p14:creationId xmlns:p14="http://schemas.microsoft.com/office/powerpoint/2010/main" val="344121175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Démarche d’audit des critères ENS 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55781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Démarche d’audit des critères ENS </a:t>
            </a:r>
          </a:p>
        </p:txBody>
      </p:sp>
    </p:spTree>
    <p:extLst>
      <p:ext uri="{BB962C8B-B14F-4D97-AF65-F5344CB8AC3E}">
        <p14:creationId xmlns:p14="http://schemas.microsoft.com/office/powerpoint/2010/main" val="384464203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4" y="2614470"/>
            <a:ext cx="1846271" cy="1629063"/>
          </a:xfrm>
          <a:prstGeom prst="rect">
            <a:avLst/>
          </a:prstGeom>
        </p:spPr>
      </p:pic>
      <p:grpSp>
        <p:nvGrpSpPr>
          <p:cNvPr id="22" name="Groupe 21"/>
          <p:cNvGrpSpPr/>
          <p:nvPr userDrawn="1"/>
        </p:nvGrpSpPr>
        <p:grpSpPr>
          <a:xfrm>
            <a:off x="6406214" y="1682636"/>
            <a:ext cx="4471897" cy="3372488"/>
            <a:chOff x="4804660" y="1261977"/>
            <a:chExt cx="3353923" cy="2529366"/>
          </a:xfrm>
        </p:grpSpPr>
        <p:sp>
          <p:nvSpPr>
            <p:cNvPr id="23" name="ZoneTexte 22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667" b="1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2000">
                  <a:solidFill>
                    <a:srgbClr val="575757"/>
                  </a:solidFill>
                </a:rPr>
                <a:t>Le portail</a:t>
              </a:r>
              <a:r>
                <a:rPr lang="fr-FR" sz="2000" baseline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2000">
                <a:solidFill>
                  <a:srgbClr val="575757"/>
                </a:solidFill>
              </a:endParaRPr>
            </a:p>
          </p:txBody>
        </p:sp>
        <p:pic>
          <p:nvPicPr>
            <p:cNvPr id="24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ZoneTexte 27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800"/>
                </a:spcAft>
              </a:pPr>
              <a:r>
                <a:rPr lang="fr-FR" sz="1200" b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400" b="0">
                <a:solidFill>
                  <a:srgbClr val="575757"/>
                </a:solidFill>
              </a:endParaRPr>
            </a:p>
            <a:p>
              <a:pPr algn="l"/>
              <a:endParaRPr lang="fr-FR" sz="667" b="0">
                <a:solidFill>
                  <a:srgbClr val="575757"/>
                </a:solidFill>
              </a:endParaRPr>
            </a:p>
            <a:p>
              <a:pPr algn="l"/>
              <a:r>
                <a:rPr lang="fr-FR" sz="1200" b="0">
                  <a:solidFill>
                    <a:srgbClr val="575757"/>
                  </a:solidFill>
                </a:rPr>
                <a:t>linkedin.com/</a:t>
              </a:r>
              <a:r>
                <a:rPr lang="fr-FR" sz="1200" b="0" err="1">
                  <a:solidFill>
                    <a:srgbClr val="575757"/>
                  </a:solidFill>
                </a:rPr>
                <a:t>company</a:t>
              </a:r>
              <a:r>
                <a:rPr lang="fr-FR" sz="1200" b="0">
                  <a:solidFill>
                    <a:srgbClr val="575757"/>
                  </a:solidFill>
                </a:rPr>
                <a:t>/agence-du-</a:t>
              </a:r>
              <a:r>
                <a:rPr lang="fr-FR" sz="1200" b="0" err="1">
                  <a:solidFill>
                    <a:srgbClr val="575757"/>
                  </a:solidFill>
                </a:rPr>
                <a:t>numerique</a:t>
              </a:r>
              <a:r>
                <a:rPr lang="fr-FR" sz="1200" b="0">
                  <a:solidFill>
                    <a:srgbClr val="575757"/>
                  </a:solidFill>
                </a:rPr>
                <a:t>-</a:t>
              </a:r>
              <a:r>
                <a:rPr lang="fr-FR" sz="1200" b="0" err="1">
                  <a:solidFill>
                    <a:srgbClr val="575757"/>
                  </a:solidFill>
                </a:rPr>
                <a:t>en-sante</a:t>
              </a:r>
              <a:endParaRPr lang="fr-FR" sz="1067" b="0">
                <a:solidFill>
                  <a:srgbClr val="57575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004779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905000" y="3365729"/>
            <a:ext cx="8781288" cy="5232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/>
              <a:t>“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quote</a:t>
            </a:r>
            <a:endParaRPr lang="fr-FR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905000" y="4094130"/>
            <a:ext cx="878128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ck to </a:t>
            </a:r>
            <a:r>
              <a:rPr lang="fr-FR" err="1"/>
              <a:t>add</a:t>
            </a:r>
            <a:r>
              <a:rPr lang="fr-FR"/>
              <a:t> </a:t>
            </a:r>
            <a:r>
              <a:rPr lang="fr-FR" err="1"/>
              <a:t>quote</a:t>
            </a:r>
            <a:r>
              <a:rPr lang="fr-FR"/>
              <a:t>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D7F91BA-4380-4A5A-9BCE-3EA81A57A2E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B75C04A-7C7A-45CC-8569-25AF6A96DA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F0FE692-C2D2-4D89-8204-4ED59A521252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A120AC3-56D5-4FDB-9268-4D5D772B24A6}"/>
              </a:ext>
            </a:extLst>
          </p:cNvPr>
          <p:cNvCxnSpPr>
            <a:cxnSpLocks/>
          </p:cNvCxnSpPr>
          <p:nvPr userDrawn="1"/>
        </p:nvCxnSpPr>
        <p:spPr>
          <a:xfrm>
            <a:off x="-1" y="3991540"/>
            <a:ext cx="581559" cy="0"/>
          </a:xfrm>
          <a:prstGeom prst="line">
            <a:avLst/>
          </a:prstGeom>
          <a:ln w="15875" cap="rnd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EF636E1-8633-49EE-9DF2-A5A010F0DFB5}"/>
              </a:ext>
            </a:extLst>
          </p:cNvPr>
          <p:cNvCxnSpPr>
            <a:cxnSpLocks/>
          </p:cNvCxnSpPr>
          <p:nvPr userDrawn="1"/>
        </p:nvCxnSpPr>
        <p:spPr>
          <a:xfrm>
            <a:off x="581558" y="3928834"/>
            <a:ext cx="626268" cy="0"/>
          </a:xfrm>
          <a:prstGeom prst="line">
            <a:avLst/>
          </a:prstGeom>
          <a:ln w="15875" cap="rnd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1B67340-457B-489D-903F-5A07C08203B7}"/>
              </a:ext>
            </a:extLst>
          </p:cNvPr>
          <p:cNvCxnSpPr>
            <a:cxnSpLocks/>
          </p:cNvCxnSpPr>
          <p:nvPr userDrawn="1"/>
        </p:nvCxnSpPr>
        <p:spPr>
          <a:xfrm>
            <a:off x="1207826" y="3991540"/>
            <a:ext cx="1357574" cy="0"/>
          </a:xfrm>
          <a:prstGeom prst="line">
            <a:avLst/>
          </a:prstGeom>
          <a:ln w="15875" cap="rnd">
            <a:gradFill>
              <a:gsLst>
                <a:gs pos="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6898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37" marR="0" indent="-171446" algn="l" defTabSz="6845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 noProof="0"/>
              <a:t>This </a:t>
            </a:r>
            <a:r>
              <a:rPr lang="fr-FR" noProof="0" err="1"/>
              <a:t>is</a:t>
            </a:r>
            <a:r>
              <a:rPr lang="fr-FR" noProof="0"/>
              <a:t> the </a:t>
            </a:r>
            <a:r>
              <a:rPr lang="fr-FR" noProof="0" err="1"/>
              <a:t>SlideProof</a:t>
            </a:r>
            <a:r>
              <a:rPr lang="fr-FR" noProof="0"/>
              <a:t> Agenda </a:t>
            </a:r>
            <a:r>
              <a:rPr lang="fr-FR" noProof="0" err="1"/>
              <a:t>Layout</a:t>
            </a:r>
            <a:endParaRPr lang="fr-FR" noProof="0"/>
          </a:p>
          <a:p>
            <a:pPr lvl="0"/>
            <a:r>
              <a:rPr lang="fr-FR" noProof="0"/>
              <a:t>http://www.veodin.com/slideproof/manual/agenda/</a:t>
            </a:r>
          </a:p>
          <a:p>
            <a:pPr lvl="0"/>
            <a:r>
              <a:rPr lang="fr-FR" noProof="0"/>
              <a:t>Use the </a:t>
            </a:r>
            <a:r>
              <a:rPr lang="fr-FR" noProof="0" err="1"/>
              <a:t>Selection</a:t>
            </a:r>
            <a:r>
              <a:rPr lang="fr-FR" noProof="0"/>
              <a:t> Pane (Alt+F10) to </a:t>
            </a:r>
            <a:r>
              <a:rPr lang="fr-FR" noProof="0" err="1"/>
              <a:t>make</a:t>
            </a:r>
            <a:r>
              <a:rPr lang="fr-FR" noProof="0"/>
              <a:t> the </a:t>
            </a:r>
            <a:r>
              <a:rPr lang="fr-FR" noProof="0" err="1"/>
              <a:t>hidden</a:t>
            </a:r>
            <a:r>
              <a:rPr lang="fr-FR" noProof="0"/>
              <a:t> </a:t>
            </a:r>
            <a:r>
              <a:rPr lang="fr-FR" noProof="0" err="1"/>
              <a:t>shapes</a:t>
            </a:r>
            <a:r>
              <a:rPr lang="fr-FR" noProof="0"/>
              <a:t> of the Agenda visible. </a:t>
            </a:r>
            <a:r>
              <a:rPr lang="fr-FR" noProof="0" err="1"/>
              <a:t>Make</a:t>
            </a:r>
            <a:r>
              <a:rPr lang="fr-FR" noProof="0"/>
              <a:t> sure </a:t>
            </a:r>
            <a:r>
              <a:rPr lang="fr-FR" noProof="0" err="1"/>
              <a:t>you</a:t>
            </a:r>
            <a:r>
              <a:rPr lang="fr-FR" noProof="0"/>
              <a:t> group </a:t>
            </a:r>
            <a:r>
              <a:rPr lang="fr-FR" noProof="0" err="1"/>
              <a:t>them</a:t>
            </a:r>
            <a:r>
              <a:rPr lang="fr-FR" noProof="0"/>
              <a:t> </a:t>
            </a:r>
            <a:r>
              <a:rPr lang="fr-FR" noProof="0" err="1"/>
              <a:t>again</a:t>
            </a:r>
            <a:r>
              <a:rPr lang="fr-FR" noProof="0"/>
              <a:t> </a:t>
            </a:r>
            <a:r>
              <a:rPr lang="fr-FR" noProof="0" err="1"/>
              <a:t>after</a:t>
            </a:r>
            <a:r>
              <a:rPr lang="fr-FR" noProof="0"/>
              <a:t> </a:t>
            </a:r>
            <a:r>
              <a:rPr lang="fr-FR" noProof="0" err="1"/>
              <a:t>editing</a:t>
            </a:r>
            <a:r>
              <a:rPr lang="fr-FR" noProof="0"/>
              <a:t> and </a:t>
            </a:r>
            <a:r>
              <a:rPr lang="fr-FR" noProof="0" err="1"/>
              <a:t>rename</a:t>
            </a:r>
            <a:r>
              <a:rPr lang="fr-FR" noProof="0"/>
              <a:t> </a:t>
            </a:r>
            <a:r>
              <a:rPr lang="fr-FR" noProof="0" err="1"/>
              <a:t>them</a:t>
            </a:r>
            <a:r>
              <a:rPr lang="fr-FR" noProof="0"/>
              <a:t> </a:t>
            </a:r>
            <a:r>
              <a:rPr lang="fr-FR" noProof="0" err="1"/>
              <a:t>with</a:t>
            </a:r>
            <a:r>
              <a:rPr lang="fr-FR" noProof="0"/>
              <a:t> </a:t>
            </a:r>
            <a:r>
              <a:rPr lang="fr-FR" noProof="0" err="1"/>
              <a:t>SlideProof</a:t>
            </a:r>
            <a:r>
              <a:rPr lang="fr-FR" noProof="0"/>
              <a:t> &gt; Agenda &gt; Rename Agenda Groups</a:t>
            </a:r>
          </a:p>
          <a:p>
            <a:pPr lvl="0"/>
            <a:r>
              <a:rPr lang="fr-FR" noProof="0" err="1"/>
              <a:t>Expected</a:t>
            </a:r>
            <a:r>
              <a:rPr lang="fr-FR" noProof="0"/>
              <a:t> group </a:t>
            </a:r>
            <a:r>
              <a:rPr lang="fr-FR" noProof="0" err="1"/>
              <a:t>names</a:t>
            </a:r>
            <a:r>
              <a:rPr lang="fr-FR" noProof="0"/>
              <a:t> are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P Agenda Section - </a:t>
            </a:r>
            <a:r>
              <a:rPr lang="fr-FR" noProof="0" err="1"/>
              <a:t>Mandatory</a:t>
            </a:r>
            <a:endParaRPr lang="fr-FR" noProof="0"/>
          </a:p>
          <a:p>
            <a:pPr lvl="1"/>
            <a:r>
              <a:rPr lang="fr-FR" noProof="0"/>
              <a:t>SP Agenda Section Highlight - Highlight the </a:t>
            </a:r>
            <a:r>
              <a:rPr lang="fr-FR" noProof="0" err="1"/>
              <a:t>current</a:t>
            </a:r>
            <a:r>
              <a:rPr lang="fr-FR" noProof="0"/>
              <a:t> section</a:t>
            </a:r>
          </a:p>
          <a:p>
            <a:pPr lvl="1"/>
            <a:r>
              <a:rPr lang="fr-FR" noProof="0"/>
              <a:t>SP Agenda </a:t>
            </a:r>
            <a:r>
              <a:rPr lang="fr-FR" noProof="0" err="1"/>
              <a:t>Subsection</a:t>
            </a:r>
            <a:r>
              <a:rPr lang="fr-FR" noProof="0"/>
              <a:t> - </a:t>
            </a:r>
            <a:r>
              <a:rPr lang="fr-FR" noProof="0" err="1"/>
              <a:t>Mandatory</a:t>
            </a:r>
            <a:r>
              <a:rPr lang="fr-FR" noProof="0"/>
              <a:t> if </a:t>
            </a:r>
            <a:r>
              <a:rPr lang="fr-FR" noProof="0" err="1"/>
              <a:t>showing</a:t>
            </a:r>
            <a:r>
              <a:rPr lang="fr-FR" noProof="0"/>
              <a:t> </a:t>
            </a:r>
            <a:r>
              <a:rPr lang="fr-FR" noProof="0" err="1"/>
              <a:t>subsections</a:t>
            </a:r>
            <a:endParaRPr lang="fr-FR" noProof="0"/>
          </a:p>
          <a:p>
            <a:pPr lvl="1"/>
            <a:r>
              <a:rPr lang="fr-FR" noProof="0"/>
              <a:t>SP Agenda </a:t>
            </a:r>
            <a:r>
              <a:rPr lang="fr-FR" noProof="0" err="1"/>
              <a:t>Subsection</a:t>
            </a:r>
            <a:r>
              <a:rPr lang="fr-FR" noProof="0"/>
              <a:t> Highlight - Highlight the </a:t>
            </a:r>
            <a:r>
              <a:rPr lang="fr-FR" noProof="0" err="1"/>
              <a:t>current</a:t>
            </a:r>
            <a:r>
              <a:rPr lang="fr-FR" noProof="0"/>
              <a:t> </a:t>
            </a:r>
            <a:r>
              <a:rPr lang="fr-FR" noProof="0" err="1"/>
              <a:t>subsection</a:t>
            </a:r>
            <a:endParaRPr lang="fr-FR" noProof="0"/>
          </a:p>
          <a:p>
            <a:pPr lvl="0"/>
            <a:r>
              <a:rPr lang="fr-FR" noProof="0" err="1"/>
              <a:t>Any</a:t>
            </a:r>
            <a:r>
              <a:rPr lang="fr-FR" noProof="0"/>
              <a:t> </a:t>
            </a:r>
            <a:r>
              <a:rPr lang="fr-FR" noProof="0" err="1"/>
              <a:t>shapes</a:t>
            </a:r>
            <a:r>
              <a:rPr lang="fr-FR" noProof="0"/>
              <a:t> or images </a:t>
            </a:r>
            <a:r>
              <a:rPr lang="fr-FR" noProof="0" err="1"/>
              <a:t>inside</a:t>
            </a:r>
            <a:r>
              <a:rPr lang="fr-FR" noProof="0"/>
              <a:t> the groups </a:t>
            </a:r>
            <a:r>
              <a:rPr lang="fr-FR" noProof="0" err="1"/>
              <a:t>will</a:t>
            </a:r>
            <a:r>
              <a:rPr lang="fr-FR" noProof="0"/>
              <a:t> </a:t>
            </a:r>
            <a:r>
              <a:rPr lang="fr-FR" noProof="0" err="1"/>
              <a:t>appear</a:t>
            </a:r>
            <a:r>
              <a:rPr lang="fr-FR" noProof="0"/>
              <a:t> on the agenda pages. This notice (SP Agenda Notice) </a:t>
            </a:r>
            <a:r>
              <a:rPr lang="fr-FR" noProof="0" err="1"/>
              <a:t>will</a:t>
            </a:r>
            <a:r>
              <a:rPr lang="fr-FR" noProof="0"/>
              <a:t> not </a:t>
            </a:r>
            <a:r>
              <a:rPr lang="fr-FR" noProof="0" err="1"/>
              <a:t>appear</a:t>
            </a:r>
            <a:r>
              <a:rPr lang="fr-FR" noProof="0"/>
              <a:t> on the agenda pages.</a:t>
            </a:r>
          </a:p>
          <a:p>
            <a:pPr lvl="0"/>
            <a:r>
              <a:rPr lang="fr-FR" noProof="0" err="1"/>
              <a:t>Valid</a:t>
            </a:r>
            <a:r>
              <a:rPr lang="fr-FR" noProof="0"/>
              <a:t> </a:t>
            </a:r>
            <a:r>
              <a:rPr lang="fr-FR" noProof="0" err="1"/>
              <a:t>text</a:t>
            </a:r>
            <a:r>
              <a:rPr lang="fr-FR" noProof="0"/>
              <a:t> </a:t>
            </a:r>
            <a:r>
              <a:rPr lang="fr-FR" noProof="0" err="1"/>
              <a:t>placeholders</a:t>
            </a:r>
            <a:r>
              <a:rPr lang="fr-FR" noProof="0"/>
              <a:t> are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ection </a:t>
            </a:r>
            <a:r>
              <a:rPr lang="fr-FR" noProof="0" err="1"/>
              <a:t>number</a:t>
            </a:r>
            <a:r>
              <a:rPr lang="fr-FR" noProof="0"/>
              <a:t>:</a:t>
            </a:r>
          </a:p>
          <a:p>
            <a:pPr lvl="1"/>
            <a:r>
              <a:rPr lang="fr-FR" noProof="0"/>
              <a:t>&lt;N&gt; for </a:t>
            </a:r>
            <a:r>
              <a:rPr lang="fr-FR" noProof="0" err="1"/>
              <a:t>Arabic</a:t>
            </a:r>
            <a:r>
              <a:rPr lang="fr-FR" noProof="0"/>
              <a:t> </a:t>
            </a:r>
            <a:r>
              <a:rPr lang="fr-FR" noProof="0" err="1"/>
              <a:t>number</a:t>
            </a:r>
            <a:r>
              <a:rPr lang="fr-FR" noProof="0"/>
              <a:t> 1, 2, 3</a:t>
            </a:r>
          </a:p>
          <a:p>
            <a:pPr lvl="1"/>
            <a:r>
              <a:rPr lang="fr-FR" noProof="0"/>
              <a:t>&lt;R&gt; for Roman </a:t>
            </a:r>
            <a:r>
              <a:rPr lang="fr-FR" noProof="0" err="1"/>
              <a:t>numeral</a:t>
            </a:r>
            <a:r>
              <a:rPr lang="fr-FR" noProof="0"/>
              <a:t> I, II, III</a:t>
            </a:r>
          </a:p>
          <a:p>
            <a:pPr lvl="1"/>
            <a:r>
              <a:rPr lang="fr-FR" noProof="0"/>
              <a:t>&lt;RL&gt; for </a:t>
            </a:r>
            <a:r>
              <a:rPr lang="fr-FR" noProof="0" err="1"/>
              <a:t>lower</a:t>
            </a:r>
            <a:r>
              <a:rPr lang="fr-FR" noProof="0"/>
              <a:t>-case Roman </a:t>
            </a:r>
            <a:r>
              <a:rPr lang="fr-FR" noProof="0" err="1"/>
              <a:t>numeral</a:t>
            </a:r>
            <a:r>
              <a:rPr lang="fr-FR" noProof="0"/>
              <a:t> i, ii, iii</a:t>
            </a:r>
          </a:p>
          <a:p>
            <a:pPr lvl="1"/>
            <a:r>
              <a:rPr lang="fr-FR" noProof="0"/>
              <a:t>&lt;A&gt; for </a:t>
            </a:r>
            <a:r>
              <a:rPr lang="fr-FR" noProof="0" err="1"/>
              <a:t>alphabetic</a:t>
            </a:r>
            <a:r>
              <a:rPr lang="fr-FR" noProof="0"/>
              <a:t> </a:t>
            </a:r>
            <a:r>
              <a:rPr lang="fr-FR" noProof="0" err="1"/>
              <a:t>character</a:t>
            </a:r>
            <a:r>
              <a:rPr lang="fr-FR" noProof="0"/>
              <a:t> A, B, C</a:t>
            </a:r>
          </a:p>
          <a:p>
            <a:pPr lvl="1"/>
            <a:r>
              <a:rPr lang="fr-FR" noProof="0"/>
              <a:t>&lt;AL&gt; for </a:t>
            </a:r>
            <a:r>
              <a:rPr lang="fr-FR" noProof="0" err="1"/>
              <a:t>lower</a:t>
            </a:r>
            <a:r>
              <a:rPr lang="fr-FR" noProof="0"/>
              <a:t>-case </a:t>
            </a:r>
            <a:r>
              <a:rPr lang="fr-FR" noProof="0" err="1"/>
              <a:t>Alphabetic</a:t>
            </a:r>
            <a:r>
              <a:rPr lang="fr-FR" noProof="0"/>
              <a:t> </a:t>
            </a:r>
            <a:r>
              <a:rPr lang="fr-FR" noProof="0" err="1"/>
              <a:t>character</a:t>
            </a:r>
            <a:endParaRPr lang="fr-FR" noProof="0"/>
          </a:p>
          <a:p>
            <a:pPr lvl="1"/>
            <a:r>
              <a:rPr lang="fr-FR" noProof="0"/>
              <a:t>&lt;TEXT&gt;</a:t>
            </a:r>
          </a:p>
          <a:p>
            <a:pPr lvl="1"/>
            <a:r>
              <a:rPr lang="fr-FR" noProof="0"/>
              <a:t>&lt;RESPONSIBLE&gt;</a:t>
            </a:r>
          </a:p>
          <a:p>
            <a:pPr lvl="1"/>
            <a:r>
              <a:rPr lang="fr-FR" noProof="0"/>
              <a:t>&lt;TIMESLOT&gt;</a:t>
            </a:r>
          </a:p>
          <a:p>
            <a:pPr lvl="1"/>
            <a:r>
              <a:rPr lang="fr-FR" noProof="0"/>
              <a:t>&lt;DURATION&gt; for duration</a:t>
            </a:r>
          </a:p>
          <a:p>
            <a:pPr lvl="1"/>
            <a:r>
              <a:rPr lang="fr-FR" noProof="0"/>
              <a:t>&lt;P&gt; for page </a:t>
            </a:r>
            <a:r>
              <a:rPr lang="fr-FR" noProof="0" err="1"/>
              <a:t>number</a:t>
            </a:r>
            <a:endParaRPr lang="fr-FR" noProof="0"/>
          </a:p>
          <a:p>
            <a:pPr lvl="0"/>
            <a:r>
              <a:rPr lang="fr-FR" noProof="0"/>
              <a:t>If </a:t>
            </a:r>
            <a:r>
              <a:rPr lang="fr-FR" noProof="0" err="1"/>
              <a:t>you</a:t>
            </a:r>
            <a:r>
              <a:rPr lang="fr-FR" noProof="0"/>
              <a:t> </a:t>
            </a:r>
            <a:r>
              <a:rPr lang="fr-FR" noProof="0" err="1"/>
              <a:t>want</a:t>
            </a:r>
            <a:r>
              <a:rPr lang="fr-FR" noProof="0"/>
              <a:t> the agenda to </a:t>
            </a:r>
            <a:r>
              <a:rPr lang="fr-FR" noProof="0" err="1"/>
              <a:t>be</a:t>
            </a:r>
            <a:r>
              <a:rPr lang="fr-FR" noProof="0"/>
              <a:t> </a:t>
            </a:r>
            <a:r>
              <a:rPr lang="fr-FR" noProof="0" err="1"/>
              <a:t>vertically</a:t>
            </a:r>
            <a:r>
              <a:rPr lang="fr-FR" noProof="0"/>
              <a:t> </a:t>
            </a:r>
            <a:r>
              <a:rPr lang="fr-FR" noProof="0" err="1"/>
              <a:t>centered</a:t>
            </a:r>
            <a:r>
              <a:rPr lang="fr-FR" noProof="0"/>
              <a:t> on </a:t>
            </a:r>
            <a:r>
              <a:rPr lang="fr-FR" noProof="0" err="1"/>
              <a:t>each</a:t>
            </a:r>
            <a:r>
              <a:rPr lang="fr-FR" noProof="0"/>
              <a:t> Agenda slide, </a:t>
            </a:r>
            <a:r>
              <a:rPr lang="fr-FR" noProof="0" err="1"/>
              <a:t>rename</a:t>
            </a:r>
            <a:r>
              <a:rPr lang="fr-FR" noProof="0"/>
              <a:t> </a:t>
            </a:r>
            <a:r>
              <a:rPr lang="fr-FR" noProof="0" err="1"/>
              <a:t>this</a:t>
            </a:r>
            <a:r>
              <a:rPr lang="fr-FR" noProof="0"/>
              <a:t> </a:t>
            </a:r>
            <a:r>
              <a:rPr lang="fr-FR" noProof="0" err="1"/>
              <a:t>layout</a:t>
            </a:r>
            <a:r>
              <a:rPr lang="fr-FR" noProof="0"/>
              <a:t> to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1797665" y="2085631"/>
            <a:ext cx="8657275" cy="369332"/>
            <a:chOff x="1797664" y="2085631"/>
            <a:chExt cx="865727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140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140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400"/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5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1400" b="1"/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1400" b="1"/>
                <a:t>&lt;N&gt;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400" b="1"/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2265806" y="3148295"/>
            <a:ext cx="8189135" cy="369332"/>
            <a:chOff x="2265804" y="3155687"/>
            <a:chExt cx="8189134" cy="369332"/>
          </a:xfrm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1400"/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1400"/>
                <a:t>&lt;N&gt;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400"/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/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2265805" y="3679627"/>
            <a:ext cx="8189135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1400" b="1"/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1400" b="1"/>
                <a:t>&lt;N&gt;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400" b="1"/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400" b="1"/>
                <a:t>&lt;DURATION&gt;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9A1AC98A-DF21-47AC-925B-31281052CC9D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fr-FR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245949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3"/>
            <a:ext cx="10080000" cy="369332"/>
            <a:chOff x="1797664" y="2085631"/>
            <a:chExt cx="5940745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37" marR="0" indent="-171446" algn="l" defTabSz="6845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 noProof="0"/>
              <a:t>This </a:t>
            </a:r>
            <a:r>
              <a:rPr lang="fr-FR" noProof="0" err="1"/>
              <a:t>is</a:t>
            </a:r>
            <a:r>
              <a:rPr lang="fr-FR" noProof="0"/>
              <a:t> the </a:t>
            </a:r>
            <a:r>
              <a:rPr lang="fr-FR" noProof="0" err="1"/>
              <a:t>SlideProof</a:t>
            </a:r>
            <a:r>
              <a:rPr lang="fr-FR" noProof="0"/>
              <a:t> Agenda </a:t>
            </a:r>
            <a:r>
              <a:rPr lang="fr-FR" noProof="0" err="1"/>
              <a:t>Layout</a:t>
            </a:r>
            <a:endParaRPr lang="fr-FR" noProof="0"/>
          </a:p>
          <a:p>
            <a:pPr lvl="0"/>
            <a:r>
              <a:rPr lang="fr-FR" noProof="0"/>
              <a:t>http://www.veodin.com/slideproof/manual/agenda/</a:t>
            </a:r>
          </a:p>
          <a:p>
            <a:pPr lvl="0"/>
            <a:r>
              <a:rPr lang="fr-FR" noProof="0"/>
              <a:t>Use the </a:t>
            </a:r>
            <a:r>
              <a:rPr lang="fr-FR" noProof="0" err="1"/>
              <a:t>Selection</a:t>
            </a:r>
            <a:r>
              <a:rPr lang="fr-FR" noProof="0"/>
              <a:t> Pane (Alt+F10) to </a:t>
            </a:r>
            <a:r>
              <a:rPr lang="fr-FR" noProof="0" err="1"/>
              <a:t>make</a:t>
            </a:r>
            <a:r>
              <a:rPr lang="fr-FR" noProof="0"/>
              <a:t> the </a:t>
            </a:r>
            <a:r>
              <a:rPr lang="fr-FR" noProof="0" err="1"/>
              <a:t>hidden</a:t>
            </a:r>
            <a:r>
              <a:rPr lang="fr-FR" noProof="0"/>
              <a:t> </a:t>
            </a:r>
            <a:r>
              <a:rPr lang="fr-FR" noProof="0" err="1"/>
              <a:t>shapes</a:t>
            </a:r>
            <a:r>
              <a:rPr lang="fr-FR" noProof="0"/>
              <a:t> of the Agenda visible. </a:t>
            </a:r>
            <a:r>
              <a:rPr lang="fr-FR" noProof="0" err="1"/>
              <a:t>Make</a:t>
            </a:r>
            <a:r>
              <a:rPr lang="fr-FR" noProof="0"/>
              <a:t> sure </a:t>
            </a:r>
            <a:r>
              <a:rPr lang="fr-FR" noProof="0" err="1"/>
              <a:t>you</a:t>
            </a:r>
            <a:r>
              <a:rPr lang="fr-FR" noProof="0"/>
              <a:t> group </a:t>
            </a:r>
            <a:r>
              <a:rPr lang="fr-FR" noProof="0" err="1"/>
              <a:t>them</a:t>
            </a:r>
            <a:r>
              <a:rPr lang="fr-FR" noProof="0"/>
              <a:t> </a:t>
            </a:r>
            <a:r>
              <a:rPr lang="fr-FR" noProof="0" err="1"/>
              <a:t>again</a:t>
            </a:r>
            <a:r>
              <a:rPr lang="fr-FR" noProof="0"/>
              <a:t> </a:t>
            </a:r>
            <a:r>
              <a:rPr lang="fr-FR" noProof="0" err="1"/>
              <a:t>after</a:t>
            </a:r>
            <a:r>
              <a:rPr lang="fr-FR" noProof="0"/>
              <a:t> </a:t>
            </a:r>
            <a:r>
              <a:rPr lang="fr-FR" noProof="0" err="1"/>
              <a:t>editing</a:t>
            </a:r>
            <a:r>
              <a:rPr lang="fr-FR" noProof="0"/>
              <a:t> and </a:t>
            </a:r>
            <a:r>
              <a:rPr lang="fr-FR" noProof="0" err="1"/>
              <a:t>rename</a:t>
            </a:r>
            <a:r>
              <a:rPr lang="fr-FR" noProof="0"/>
              <a:t> </a:t>
            </a:r>
            <a:r>
              <a:rPr lang="fr-FR" noProof="0" err="1"/>
              <a:t>them</a:t>
            </a:r>
            <a:r>
              <a:rPr lang="fr-FR" noProof="0"/>
              <a:t> </a:t>
            </a:r>
            <a:r>
              <a:rPr lang="fr-FR" noProof="0" err="1"/>
              <a:t>with</a:t>
            </a:r>
            <a:r>
              <a:rPr lang="fr-FR" noProof="0"/>
              <a:t> </a:t>
            </a:r>
            <a:r>
              <a:rPr lang="fr-FR" noProof="0" err="1"/>
              <a:t>SlideProof</a:t>
            </a:r>
            <a:r>
              <a:rPr lang="fr-FR" noProof="0"/>
              <a:t> &gt; Agenda &gt; Rename Agenda Groups</a:t>
            </a:r>
          </a:p>
          <a:p>
            <a:pPr lvl="0"/>
            <a:r>
              <a:rPr lang="fr-FR" noProof="0" err="1"/>
              <a:t>Expected</a:t>
            </a:r>
            <a:r>
              <a:rPr lang="fr-FR" noProof="0"/>
              <a:t> group </a:t>
            </a:r>
            <a:r>
              <a:rPr lang="fr-FR" noProof="0" err="1"/>
              <a:t>names</a:t>
            </a:r>
            <a:r>
              <a:rPr lang="fr-FR" noProof="0"/>
              <a:t> are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P Agenda Section - </a:t>
            </a:r>
            <a:r>
              <a:rPr lang="fr-FR" noProof="0" err="1"/>
              <a:t>Mandatory</a:t>
            </a:r>
            <a:endParaRPr lang="fr-FR" noProof="0"/>
          </a:p>
          <a:p>
            <a:pPr lvl="1"/>
            <a:r>
              <a:rPr lang="fr-FR" noProof="0"/>
              <a:t>SP Agenda Section Highlight - Highlight the </a:t>
            </a:r>
            <a:r>
              <a:rPr lang="fr-FR" noProof="0" err="1"/>
              <a:t>current</a:t>
            </a:r>
            <a:r>
              <a:rPr lang="fr-FR" noProof="0"/>
              <a:t> section</a:t>
            </a:r>
          </a:p>
          <a:p>
            <a:pPr lvl="1"/>
            <a:r>
              <a:rPr lang="fr-FR" noProof="0"/>
              <a:t>SP Agenda </a:t>
            </a:r>
            <a:r>
              <a:rPr lang="fr-FR" noProof="0" err="1"/>
              <a:t>Subsection</a:t>
            </a:r>
            <a:r>
              <a:rPr lang="fr-FR" noProof="0"/>
              <a:t> - </a:t>
            </a:r>
            <a:r>
              <a:rPr lang="fr-FR" noProof="0" err="1"/>
              <a:t>Mandatory</a:t>
            </a:r>
            <a:r>
              <a:rPr lang="fr-FR" noProof="0"/>
              <a:t> if </a:t>
            </a:r>
            <a:r>
              <a:rPr lang="fr-FR" noProof="0" err="1"/>
              <a:t>showing</a:t>
            </a:r>
            <a:r>
              <a:rPr lang="fr-FR" noProof="0"/>
              <a:t> </a:t>
            </a:r>
            <a:r>
              <a:rPr lang="fr-FR" noProof="0" err="1"/>
              <a:t>subsections</a:t>
            </a:r>
            <a:endParaRPr lang="fr-FR" noProof="0"/>
          </a:p>
          <a:p>
            <a:pPr lvl="1"/>
            <a:r>
              <a:rPr lang="fr-FR" noProof="0"/>
              <a:t>SP Agenda </a:t>
            </a:r>
            <a:r>
              <a:rPr lang="fr-FR" noProof="0" err="1"/>
              <a:t>Subsection</a:t>
            </a:r>
            <a:r>
              <a:rPr lang="fr-FR" noProof="0"/>
              <a:t> Highlight - Highlight the </a:t>
            </a:r>
            <a:r>
              <a:rPr lang="fr-FR" noProof="0" err="1"/>
              <a:t>current</a:t>
            </a:r>
            <a:r>
              <a:rPr lang="fr-FR" noProof="0"/>
              <a:t> </a:t>
            </a:r>
            <a:r>
              <a:rPr lang="fr-FR" noProof="0" err="1"/>
              <a:t>subsection</a:t>
            </a:r>
            <a:endParaRPr lang="fr-FR" noProof="0"/>
          </a:p>
          <a:p>
            <a:pPr lvl="0"/>
            <a:r>
              <a:rPr lang="fr-FR" noProof="0" err="1"/>
              <a:t>Any</a:t>
            </a:r>
            <a:r>
              <a:rPr lang="fr-FR" noProof="0"/>
              <a:t> </a:t>
            </a:r>
            <a:r>
              <a:rPr lang="fr-FR" noProof="0" err="1"/>
              <a:t>shapes</a:t>
            </a:r>
            <a:r>
              <a:rPr lang="fr-FR" noProof="0"/>
              <a:t> or images </a:t>
            </a:r>
            <a:r>
              <a:rPr lang="fr-FR" noProof="0" err="1"/>
              <a:t>inside</a:t>
            </a:r>
            <a:r>
              <a:rPr lang="fr-FR" noProof="0"/>
              <a:t> the groups </a:t>
            </a:r>
            <a:r>
              <a:rPr lang="fr-FR" noProof="0" err="1"/>
              <a:t>will</a:t>
            </a:r>
            <a:r>
              <a:rPr lang="fr-FR" noProof="0"/>
              <a:t> </a:t>
            </a:r>
            <a:r>
              <a:rPr lang="fr-FR" noProof="0" err="1"/>
              <a:t>appear</a:t>
            </a:r>
            <a:r>
              <a:rPr lang="fr-FR" noProof="0"/>
              <a:t> on the agenda pages. This notice (SP Agenda Notice) </a:t>
            </a:r>
            <a:r>
              <a:rPr lang="fr-FR" noProof="0" err="1"/>
              <a:t>will</a:t>
            </a:r>
            <a:r>
              <a:rPr lang="fr-FR" noProof="0"/>
              <a:t> not </a:t>
            </a:r>
            <a:r>
              <a:rPr lang="fr-FR" noProof="0" err="1"/>
              <a:t>appear</a:t>
            </a:r>
            <a:r>
              <a:rPr lang="fr-FR" noProof="0"/>
              <a:t> on the agenda pages.</a:t>
            </a:r>
          </a:p>
          <a:p>
            <a:pPr lvl="0"/>
            <a:r>
              <a:rPr lang="fr-FR" noProof="0" err="1"/>
              <a:t>Valid</a:t>
            </a:r>
            <a:r>
              <a:rPr lang="fr-FR" noProof="0"/>
              <a:t> </a:t>
            </a:r>
            <a:r>
              <a:rPr lang="fr-FR" noProof="0" err="1"/>
              <a:t>text</a:t>
            </a:r>
            <a:r>
              <a:rPr lang="fr-FR" noProof="0"/>
              <a:t> </a:t>
            </a:r>
            <a:r>
              <a:rPr lang="fr-FR" noProof="0" err="1"/>
              <a:t>placeholders</a:t>
            </a:r>
            <a:r>
              <a:rPr lang="fr-FR" noProof="0"/>
              <a:t> are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ection </a:t>
            </a:r>
            <a:r>
              <a:rPr lang="fr-FR" noProof="0" err="1"/>
              <a:t>number</a:t>
            </a:r>
            <a:r>
              <a:rPr lang="fr-FR" noProof="0"/>
              <a:t>:</a:t>
            </a:r>
          </a:p>
          <a:p>
            <a:pPr lvl="1"/>
            <a:r>
              <a:rPr lang="fr-FR" noProof="0"/>
              <a:t>&lt;N&gt; for </a:t>
            </a:r>
            <a:r>
              <a:rPr lang="fr-FR" noProof="0" err="1"/>
              <a:t>Arabic</a:t>
            </a:r>
            <a:r>
              <a:rPr lang="fr-FR" noProof="0"/>
              <a:t> </a:t>
            </a:r>
            <a:r>
              <a:rPr lang="fr-FR" noProof="0" err="1"/>
              <a:t>number</a:t>
            </a:r>
            <a:r>
              <a:rPr lang="fr-FR" noProof="0"/>
              <a:t> 1, 2, 3</a:t>
            </a:r>
          </a:p>
          <a:p>
            <a:pPr lvl="1"/>
            <a:r>
              <a:rPr lang="fr-FR" noProof="0"/>
              <a:t>&lt;R&gt; for Roman </a:t>
            </a:r>
            <a:r>
              <a:rPr lang="fr-FR" noProof="0" err="1"/>
              <a:t>numeral</a:t>
            </a:r>
            <a:r>
              <a:rPr lang="fr-FR" noProof="0"/>
              <a:t> I, II, III</a:t>
            </a:r>
          </a:p>
          <a:p>
            <a:pPr lvl="1"/>
            <a:r>
              <a:rPr lang="fr-FR" noProof="0"/>
              <a:t>&lt;RL&gt; for </a:t>
            </a:r>
            <a:r>
              <a:rPr lang="fr-FR" noProof="0" err="1"/>
              <a:t>lower</a:t>
            </a:r>
            <a:r>
              <a:rPr lang="fr-FR" noProof="0"/>
              <a:t>-case Roman </a:t>
            </a:r>
            <a:r>
              <a:rPr lang="fr-FR" noProof="0" err="1"/>
              <a:t>numeral</a:t>
            </a:r>
            <a:r>
              <a:rPr lang="fr-FR" noProof="0"/>
              <a:t> i, ii, iii</a:t>
            </a:r>
          </a:p>
          <a:p>
            <a:pPr lvl="1"/>
            <a:r>
              <a:rPr lang="fr-FR" noProof="0"/>
              <a:t>&lt;A&gt; for </a:t>
            </a:r>
            <a:r>
              <a:rPr lang="fr-FR" noProof="0" err="1"/>
              <a:t>alphabetic</a:t>
            </a:r>
            <a:r>
              <a:rPr lang="fr-FR" noProof="0"/>
              <a:t> </a:t>
            </a:r>
            <a:r>
              <a:rPr lang="fr-FR" noProof="0" err="1"/>
              <a:t>character</a:t>
            </a:r>
            <a:r>
              <a:rPr lang="fr-FR" noProof="0"/>
              <a:t> A, B, C</a:t>
            </a:r>
          </a:p>
          <a:p>
            <a:pPr lvl="1"/>
            <a:r>
              <a:rPr lang="fr-FR" noProof="0"/>
              <a:t>&lt;AL&gt; for </a:t>
            </a:r>
            <a:r>
              <a:rPr lang="fr-FR" noProof="0" err="1"/>
              <a:t>lower</a:t>
            </a:r>
            <a:r>
              <a:rPr lang="fr-FR" noProof="0"/>
              <a:t>-case </a:t>
            </a:r>
            <a:r>
              <a:rPr lang="fr-FR" noProof="0" err="1"/>
              <a:t>Alphabetic</a:t>
            </a:r>
            <a:r>
              <a:rPr lang="fr-FR" noProof="0"/>
              <a:t> </a:t>
            </a:r>
            <a:r>
              <a:rPr lang="fr-FR" noProof="0" err="1"/>
              <a:t>character</a:t>
            </a:r>
            <a:endParaRPr lang="fr-FR" noProof="0"/>
          </a:p>
          <a:p>
            <a:pPr lvl="1"/>
            <a:r>
              <a:rPr lang="fr-FR" noProof="0"/>
              <a:t>&lt;TEXT&gt;</a:t>
            </a:r>
          </a:p>
          <a:p>
            <a:pPr lvl="1"/>
            <a:r>
              <a:rPr lang="fr-FR" noProof="0"/>
              <a:t>&lt;RESPONSIBLE&gt;</a:t>
            </a:r>
          </a:p>
          <a:p>
            <a:pPr lvl="1"/>
            <a:r>
              <a:rPr lang="fr-FR" noProof="0"/>
              <a:t>&lt;TIMESLOT&gt;</a:t>
            </a:r>
          </a:p>
          <a:p>
            <a:pPr lvl="1"/>
            <a:r>
              <a:rPr lang="fr-FR" noProof="0"/>
              <a:t>&lt;DURATION&gt; for duration</a:t>
            </a:r>
          </a:p>
          <a:p>
            <a:pPr lvl="1"/>
            <a:r>
              <a:rPr lang="fr-FR" noProof="0"/>
              <a:t>&lt;P&gt; for page </a:t>
            </a:r>
            <a:r>
              <a:rPr lang="fr-FR" noProof="0" err="1"/>
              <a:t>number</a:t>
            </a:r>
            <a:endParaRPr lang="fr-FR" noProof="0"/>
          </a:p>
          <a:p>
            <a:pPr lvl="0"/>
            <a:r>
              <a:rPr lang="fr-FR" noProof="0"/>
              <a:t>If </a:t>
            </a:r>
            <a:r>
              <a:rPr lang="fr-FR" noProof="0" err="1"/>
              <a:t>you</a:t>
            </a:r>
            <a:r>
              <a:rPr lang="fr-FR" noProof="0"/>
              <a:t> </a:t>
            </a:r>
            <a:r>
              <a:rPr lang="fr-FR" noProof="0" err="1"/>
              <a:t>want</a:t>
            </a:r>
            <a:r>
              <a:rPr lang="fr-FR" noProof="0"/>
              <a:t> the agenda to </a:t>
            </a:r>
            <a:r>
              <a:rPr lang="fr-FR" noProof="0" err="1"/>
              <a:t>be</a:t>
            </a:r>
            <a:r>
              <a:rPr lang="fr-FR" noProof="0"/>
              <a:t> </a:t>
            </a:r>
            <a:r>
              <a:rPr lang="fr-FR" noProof="0" err="1"/>
              <a:t>vertically</a:t>
            </a:r>
            <a:r>
              <a:rPr lang="fr-FR" noProof="0"/>
              <a:t> </a:t>
            </a:r>
            <a:r>
              <a:rPr lang="fr-FR" noProof="0" err="1"/>
              <a:t>centered</a:t>
            </a:r>
            <a:r>
              <a:rPr lang="fr-FR" noProof="0"/>
              <a:t> on </a:t>
            </a:r>
            <a:r>
              <a:rPr lang="fr-FR" noProof="0" err="1"/>
              <a:t>each</a:t>
            </a:r>
            <a:r>
              <a:rPr lang="fr-FR" noProof="0"/>
              <a:t> Agenda slide, </a:t>
            </a:r>
            <a:r>
              <a:rPr lang="fr-FR" noProof="0" err="1"/>
              <a:t>rename</a:t>
            </a:r>
            <a:r>
              <a:rPr lang="fr-FR" noProof="0"/>
              <a:t> </a:t>
            </a:r>
            <a:r>
              <a:rPr lang="fr-FR" noProof="0" err="1"/>
              <a:t>this</a:t>
            </a:r>
            <a:r>
              <a:rPr lang="fr-FR" noProof="0"/>
              <a:t> </a:t>
            </a:r>
            <a:r>
              <a:rPr lang="fr-FR" noProof="0" err="1"/>
              <a:t>layout</a:t>
            </a:r>
            <a:r>
              <a:rPr lang="fr-FR" noProof="0"/>
              <a:t> to:</a:t>
            </a:r>
          </a:p>
          <a:p>
            <a:pPr lvl="1"/>
            <a:endParaRPr lang="fr-FR" noProof="0"/>
          </a:p>
          <a:p>
            <a:pPr lvl="1"/>
            <a:r>
              <a:rPr lang="fr-FR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284761" y="4096093"/>
            <a:ext cx="10080000" cy="369332"/>
            <a:chOff x="1797664" y="2085631"/>
            <a:chExt cx="5940745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033">
                <a:tabLst>
                  <a:tab pos="9511825" algn="l"/>
                </a:tabLst>
              </a:pPr>
              <a:r>
                <a:rPr lang="fr-FR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fr-FR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fr-FR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fr-FR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55231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s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11">
            <a:extLst>
              <a:ext uri="{FF2B5EF4-FFF2-40B4-BE49-F238E27FC236}">
                <a16:creationId xmlns:a16="http://schemas.microsoft.com/office/drawing/2014/main" id="{2C560B03-64B1-49BD-AB9A-F49BC9A061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4289072" cy="47259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2B96C81-DBE8-42B4-8B98-27519B9B5F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7078" y="548681"/>
            <a:ext cx="4075439" cy="108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921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48355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28573" y="273317"/>
            <a:ext cx="9357687" cy="5687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8571" y="907032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5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1399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6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A039C8-F8E4-48F2-A5CE-7EEA0C494C2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8" y="6397511"/>
            <a:ext cx="1673023" cy="374343"/>
          </a:xfrm>
          <a:prstGeom prst="rect">
            <a:avLst/>
          </a:prstGeom>
        </p:spPr>
      </p:pic>
      <p:pic>
        <p:nvPicPr>
          <p:cNvPr id="16" name="Picture 3" descr="Logo&#10;&#10;Description automatically generated">
            <a:extLst>
              <a:ext uri="{FF2B5EF4-FFF2-40B4-BE49-F238E27FC236}">
                <a16:creationId xmlns:a16="http://schemas.microsoft.com/office/drawing/2014/main" id="{1DC7B2D2-BD5A-4531-A6AF-98D46B5F3C1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5569" y="222225"/>
            <a:ext cx="709915" cy="709915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651C3D2D-A41E-44DE-A903-5ADDEBBB7D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0707" y="94493"/>
            <a:ext cx="1630541" cy="102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3233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Diapositive think-cell" r:id="rId8" imgW="592" imgH="591" progId="TCLayout.ActiveDocument.1">
                  <p:embed/>
                </p:oleObj>
              </mc:Choice>
              <mc:Fallback>
                <p:oleObj name="Diapositiv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F16ED0EB-E2B0-4FF3-AE68-010376F075A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2" y="6139141"/>
            <a:ext cx="2868077" cy="641739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39336795-10E5-4AF1-8DC4-280B4825A89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609" y="40019"/>
            <a:ext cx="1371600" cy="1371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14780DC-FA9C-4B03-BDD2-82C556B2357E}"/>
              </a:ext>
            </a:extLst>
          </p:cNvPr>
          <p:cNvSpPr/>
          <p:nvPr userDrawn="1"/>
        </p:nvSpPr>
        <p:spPr>
          <a:xfrm>
            <a:off x="577609" y="2237589"/>
            <a:ext cx="11640059" cy="369289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24" name="Documenttype">
            <a:extLst>
              <a:ext uri="{FF2B5EF4-FFF2-40B4-BE49-F238E27FC236}">
                <a16:creationId xmlns:a16="http://schemas.microsoft.com/office/drawing/2014/main" id="{02449FE3-3ADC-4F58-B3D1-3E310595BE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37059" y="5181601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90C91EE7-18CD-4939-975C-4A0F6BE4F0C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37059" y="4110237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556D089E-FD83-4B6E-AAA8-CFE63158937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7059" y="2522952"/>
            <a:ext cx="944053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44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5D3747D0-1E29-44B2-B489-52A99151D3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77120"/>
            <a:ext cx="2672717" cy="160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4502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que SUN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28573" y="273317"/>
            <a:ext cx="9357687" cy="5687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28571" y="907032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5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1399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6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A2D88D47-0DC0-45DE-934A-C8FFA7351D5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2918" y="430794"/>
            <a:ext cx="571255" cy="571255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C3A2D62-67D2-4715-9F2B-3937D1D846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72602" y="303061"/>
            <a:ext cx="1312065" cy="826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A039C8-F8E4-48F2-A5CE-7EEA0C494C2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8" y="6397511"/>
            <a:ext cx="1673023" cy="37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4636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sque SUNES + 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28573" y="273317"/>
            <a:ext cx="9357687" cy="5687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28571" y="907032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5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1399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6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5">
            <a:extLst>
              <a:ext uri="{FF2B5EF4-FFF2-40B4-BE49-F238E27FC236}">
                <a16:creationId xmlns:a16="http://schemas.microsoft.com/office/drawing/2014/main" id="{B034CB10-455D-48DB-8BA9-A0527C6F48E5}"/>
              </a:ext>
            </a:extLst>
          </p:cNvPr>
          <p:cNvGrpSpPr/>
          <p:nvPr userDrawn="1"/>
        </p:nvGrpSpPr>
        <p:grpSpPr>
          <a:xfrm>
            <a:off x="10103499" y="251690"/>
            <a:ext cx="2041749" cy="826719"/>
            <a:chOff x="10137945" y="251689"/>
            <a:chExt cx="2041749" cy="826718"/>
          </a:xfrm>
        </p:grpSpPr>
        <p:pic>
          <p:nvPicPr>
            <p:cNvPr id="4" name="Picture 3" descr="Logo&#10;&#10;Description automatically generated">
              <a:extLst>
                <a:ext uri="{FF2B5EF4-FFF2-40B4-BE49-F238E27FC236}">
                  <a16:creationId xmlns:a16="http://schemas.microsoft.com/office/drawing/2014/main" id="{A2D88D47-0DC0-45DE-934A-C8FFA7351D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7945" y="379421"/>
              <a:ext cx="571255" cy="571255"/>
            </a:xfrm>
            <a:prstGeom prst="rect">
              <a:avLst/>
            </a:prstGeom>
          </p:spPr>
        </p:pic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1C3A2D62-67D2-4715-9F2B-3937D1D8466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67629" y="251689"/>
              <a:ext cx="1312065" cy="826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A039C8-F8E4-48F2-A5CE-7EEA0C494C2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8" y="6397511"/>
            <a:ext cx="1673023" cy="374343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57681E9-DC88-4D95-AD2D-5371272B301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1282" y="1097481"/>
            <a:ext cx="1286183" cy="85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2091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Diapositive think-cell" r:id="rId8" imgW="592" imgH="591" progId="TCLayout.ActiveDocument.1">
                  <p:embed/>
                </p:oleObj>
              </mc:Choice>
              <mc:Fallback>
                <p:oleObj name="Diapositive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F16ED0EB-E2B0-4FF3-AE68-010376F075A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2" y="6139141"/>
            <a:ext cx="2868077" cy="641739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39336795-10E5-4AF1-8DC4-280B4825A89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9053" y="255776"/>
            <a:ext cx="1371600" cy="13716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14780DC-FA9C-4B03-BDD2-82C556B2357E}"/>
              </a:ext>
            </a:extLst>
          </p:cNvPr>
          <p:cNvSpPr/>
          <p:nvPr userDrawn="1"/>
        </p:nvSpPr>
        <p:spPr>
          <a:xfrm>
            <a:off x="577609" y="2237589"/>
            <a:ext cx="11640059" cy="369289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24" name="Documenttype">
            <a:extLst>
              <a:ext uri="{FF2B5EF4-FFF2-40B4-BE49-F238E27FC236}">
                <a16:creationId xmlns:a16="http://schemas.microsoft.com/office/drawing/2014/main" id="{02449FE3-3ADC-4F58-B3D1-3E310595BE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37059" y="5181601"/>
            <a:ext cx="944053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Date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90C91EE7-18CD-4939-975C-4A0F6BE4F0C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37059" y="4110237"/>
            <a:ext cx="944053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fr-FR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556D089E-FD83-4B6E-AAA8-CFE63158937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37059" y="2522952"/>
            <a:ext cx="9440536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fr-FR" sz="4400" cap="all" baseline="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5D3747D0-1E29-44B2-B489-52A99151D3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77120"/>
            <a:ext cx="2672717" cy="160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7658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28573" y="273317"/>
            <a:ext cx="9357687" cy="5687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28571" y="907032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5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1399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6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A3A039C8-F8E4-48F2-A5CE-7EEA0C494C2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38" y="6397511"/>
            <a:ext cx="1673023" cy="374343"/>
          </a:xfrm>
          <a:prstGeom prst="rect">
            <a:avLst/>
          </a:prstGeom>
        </p:spPr>
      </p:pic>
      <p:pic>
        <p:nvPicPr>
          <p:cNvPr id="16" name="Picture 3" descr="Logo&#10;&#10;Description automatically generated">
            <a:extLst>
              <a:ext uri="{FF2B5EF4-FFF2-40B4-BE49-F238E27FC236}">
                <a16:creationId xmlns:a16="http://schemas.microsoft.com/office/drawing/2014/main" id="{1DC7B2D2-BD5A-4531-A6AF-98D46B5F3C1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5569" y="222225"/>
            <a:ext cx="709915" cy="709915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651C3D2D-A41E-44DE-A903-5ADDEBBB7D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0707" y="94493"/>
            <a:ext cx="1630541" cy="102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9598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Diapositive think-cell" r:id="rId12" imgW="413" imgH="416" progId="TCLayout.ActiveDocument.1">
                  <p:embed/>
                </p:oleObj>
              </mc:Choice>
              <mc:Fallback>
                <p:oleObj name="Diapositive think-cell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7740" y="483488"/>
            <a:ext cx="9697339" cy="38472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 style du titr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77740" y="941325"/>
            <a:ext cx="969733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Modifier le style des sous-titres du masqu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7" y="651399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6" y="651399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/>
        </p:nvCxnSpPr>
        <p:spPr>
          <a:xfrm flipH="1">
            <a:off x="11312527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Diapositive think-cell" r:id="rId14" imgW="413" imgH="416" progId="TCLayout.ActiveDocument.1">
                  <p:embed/>
                </p:oleObj>
              </mc:Choice>
              <mc:Fallback>
                <p:oleObj name="Diapositive think-cell" r:id="rId14" imgW="413" imgH="416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6" y="651399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18359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6967728" cy="3847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8FDD733-5B86-4D3A-8384-6C6DF21B0A9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50BF5A9-3E10-4FD7-BBBD-AC3DE27383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AD96AEA-D46E-4DD3-8EFD-5CEBB3A24B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58AAD5B-6554-4D11-BAB9-B8069992E435}"/>
              </a:ext>
            </a:extLst>
          </p:cNvPr>
          <p:cNvCxnSpPr/>
          <p:nvPr userDrawn="1"/>
        </p:nvCxnSpPr>
        <p:spPr>
          <a:xfrm>
            <a:off x="7830312" y="1467293"/>
            <a:ext cx="0" cy="461453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FF651415-3855-A43E-B244-2837092F5E4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4301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Diapositive think-cell" r:id="rId9" imgW="413" imgH="416" progId="TCLayout.ActiveDocument.1">
                  <p:embed/>
                </p:oleObj>
              </mc:Choice>
              <mc:Fallback>
                <p:oleObj name="Diapositive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05017" y="273317"/>
            <a:ext cx="8781243" cy="5687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fr-FR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005018" y="1005888"/>
            <a:ext cx="9357687" cy="2540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fr-FR" sz="1800" b="0" dirty="0"/>
            </a:lvl1pPr>
          </a:lstStyle>
          <a:p>
            <a:pPr lvl="0">
              <a:buNone/>
            </a:pPr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6"/>
            <a:ext cx="422275" cy="2024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1399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7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43744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Diapositive think-cell" r:id="rId10" imgW="413" imgH="416" progId="TCLayout.ActiveDocument.1">
                  <p:embed/>
                </p:oleObj>
              </mc:Choice>
              <mc:Fallback>
                <p:oleObj name="Diapositive think-cell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7" y="651399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6" y="651399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1ABE18-8991-4C13-ABAD-85B9E971F533}"/>
              </a:ext>
            </a:extLst>
          </p:cNvPr>
          <p:cNvCxnSpPr>
            <a:cxnSpLocks/>
          </p:cNvCxnSpPr>
          <p:nvPr/>
        </p:nvCxnSpPr>
        <p:spPr>
          <a:xfrm flipH="1">
            <a:off x="11312527" y="6504471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Diapositive think-cell" r:id="rId12" imgW="413" imgH="416" progId="TCLayout.ActiveDocument.1">
                  <p:embed/>
                </p:oleObj>
              </mc:Choice>
              <mc:Fallback>
                <p:oleObj name="Diapositive think-cell" r:id="rId12" imgW="413" imgH="416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1399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007533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>
          <a:xfrm>
            <a:off x="545005" y="6333324"/>
            <a:ext cx="9235315" cy="365125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>
          <a:xfrm>
            <a:off x="1103445" y="1124745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83343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7" y="2244362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7" y="3754140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397" y="1988840"/>
            <a:ext cx="1898864" cy="1482648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27F92C7-C7C7-C7D0-C3AC-F9FEC7CC2F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0002" y="266640"/>
            <a:ext cx="2348653" cy="1482647"/>
          </a:xfrm>
          <a:prstGeom prst="rect">
            <a:avLst/>
          </a:prstGeom>
        </p:spPr>
      </p:pic>
      <p:pic>
        <p:nvPicPr>
          <p:cNvPr id="5" name="Picture 12" descr="Logo&#10;&#10;Description automatically generated">
            <a:extLst>
              <a:ext uri="{FF2B5EF4-FFF2-40B4-BE49-F238E27FC236}">
                <a16:creationId xmlns:a16="http://schemas.microsoft.com/office/drawing/2014/main" id="{86160FAA-0275-4225-DA83-DC711C6627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320" y="3799280"/>
            <a:ext cx="1309907" cy="1309907"/>
          </a:xfrm>
          <a:prstGeom prst="rect">
            <a:avLst/>
          </a:prstGeom>
        </p:spPr>
      </p:pic>
      <p:pic>
        <p:nvPicPr>
          <p:cNvPr id="6" name="Google Shape;26;p19">
            <a:extLst>
              <a:ext uri="{FF2B5EF4-FFF2-40B4-BE49-F238E27FC236}">
                <a16:creationId xmlns:a16="http://schemas.microsoft.com/office/drawing/2014/main" id="{90146962-2F5F-6633-282C-4EC35105D6B5}"/>
              </a:ext>
            </a:extLst>
          </p:cNvPr>
          <p:cNvPicPr preferRelativeResize="0"/>
          <p:nvPr userDrawn="1"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96259" y="275196"/>
            <a:ext cx="856421" cy="1284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10" descr="Text&#10;&#10;Description automatically generated">
            <a:extLst>
              <a:ext uri="{FF2B5EF4-FFF2-40B4-BE49-F238E27FC236}">
                <a16:creationId xmlns:a16="http://schemas.microsoft.com/office/drawing/2014/main" id="{2E402949-8F08-E941-C103-49D26ED7464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397" y="5405094"/>
            <a:ext cx="2537256" cy="56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0502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7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55C2F11-4912-4F73-393A-5F36ADE43A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0001" y="266640"/>
            <a:ext cx="3032308" cy="191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248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2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0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1" y="192021"/>
            <a:ext cx="1746908" cy="640533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CB0C318-169A-69D5-D1DD-330057BB12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0001" y="266640"/>
            <a:ext cx="3032308" cy="191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1917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86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39" y="6333323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0" y="3007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52446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86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81" y="265620"/>
            <a:ext cx="1152696" cy="900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68704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69373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337992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99961"/>
            <a:ext cx="7918704" cy="3847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95779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FFEEF882-5F04-4A45-B71F-9A0A6D64E21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E55A1F2-AD34-44A1-9271-15E2C735F39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D9D22CB-24E0-465D-B880-3436C7A0DC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5EC5098-4C96-42B9-8C63-81818ADDE3BB}"/>
              </a:ext>
            </a:extLst>
          </p:cNvPr>
          <p:cNvCxnSpPr/>
          <p:nvPr userDrawn="1"/>
        </p:nvCxnSpPr>
        <p:spPr>
          <a:xfrm>
            <a:off x="8781416" y="1467293"/>
            <a:ext cx="0" cy="461453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4039A7B6-0E5B-5587-1505-9F22F284081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765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1103446" y="1124744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6669736" y="1124744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982242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1"/>
            <a:ext cx="1815188" cy="6264921"/>
          </a:xfrm>
          <a:prstGeom prst="rect">
            <a:avLst/>
          </a:prstGeom>
        </p:spPr>
      </p:pic>
      <p:grpSp>
        <p:nvGrpSpPr>
          <p:cNvPr id="22" name="Groupe 21"/>
          <p:cNvGrpSpPr/>
          <p:nvPr userDrawn="1"/>
        </p:nvGrpSpPr>
        <p:grpSpPr>
          <a:xfrm>
            <a:off x="6406214" y="1682636"/>
            <a:ext cx="4471897" cy="3372488"/>
            <a:chOff x="4804660" y="1261977"/>
            <a:chExt cx="3353923" cy="2529366"/>
          </a:xfrm>
        </p:grpSpPr>
        <p:sp>
          <p:nvSpPr>
            <p:cNvPr id="23" name="ZoneTexte 22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667" b="1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2000">
                  <a:solidFill>
                    <a:srgbClr val="575757"/>
                  </a:solidFill>
                </a:rPr>
                <a:t>Le portail</a:t>
              </a:r>
              <a:r>
                <a:rPr lang="fr-FR" sz="2000" baseline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2000">
                <a:solidFill>
                  <a:srgbClr val="575757"/>
                </a:solidFill>
              </a:endParaRPr>
            </a:p>
          </p:txBody>
        </p:sp>
        <p:pic>
          <p:nvPicPr>
            <p:cNvPr id="24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ZoneTexte 27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800"/>
                </a:spcAft>
              </a:pPr>
              <a:r>
                <a:rPr lang="fr-FR" sz="1200" b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400" b="0">
                <a:solidFill>
                  <a:srgbClr val="575757"/>
                </a:solidFill>
              </a:endParaRPr>
            </a:p>
            <a:p>
              <a:pPr algn="l"/>
              <a:endParaRPr lang="fr-FR" sz="667" b="0">
                <a:solidFill>
                  <a:srgbClr val="575757"/>
                </a:solidFill>
              </a:endParaRPr>
            </a:p>
            <a:p>
              <a:pPr algn="l"/>
              <a:r>
                <a:rPr lang="fr-FR" sz="1200" b="0">
                  <a:solidFill>
                    <a:srgbClr val="575757"/>
                  </a:solidFill>
                </a:rPr>
                <a:t>linkedin.com/</a:t>
              </a:r>
              <a:r>
                <a:rPr lang="fr-FR" sz="1200" b="0" err="1">
                  <a:solidFill>
                    <a:srgbClr val="575757"/>
                  </a:solidFill>
                </a:rPr>
                <a:t>company</a:t>
              </a:r>
              <a:r>
                <a:rPr lang="fr-FR" sz="1200" b="0">
                  <a:solidFill>
                    <a:srgbClr val="575757"/>
                  </a:solidFill>
                </a:rPr>
                <a:t>/agence-du-</a:t>
              </a:r>
              <a:r>
                <a:rPr lang="fr-FR" sz="1200" b="0" err="1">
                  <a:solidFill>
                    <a:srgbClr val="575757"/>
                  </a:solidFill>
                </a:rPr>
                <a:t>numerique</a:t>
              </a:r>
              <a:r>
                <a:rPr lang="fr-FR" sz="1200" b="0">
                  <a:solidFill>
                    <a:srgbClr val="575757"/>
                  </a:solidFill>
                </a:rPr>
                <a:t>-</a:t>
              </a:r>
              <a:r>
                <a:rPr lang="fr-FR" sz="1200" b="0" err="1">
                  <a:solidFill>
                    <a:srgbClr val="575757"/>
                  </a:solidFill>
                </a:rPr>
                <a:t>en-sante</a:t>
              </a:r>
              <a:endParaRPr lang="fr-FR" sz="1067" b="0">
                <a:solidFill>
                  <a:srgbClr val="575757"/>
                </a:solidFill>
              </a:endParaRPr>
            </a:p>
          </p:txBody>
        </p: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053" y="2616076"/>
            <a:ext cx="2347733" cy="1833129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572FC649-9639-BE98-14CE-3D86E481A8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0001" y="266640"/>
            <a:ext cx="3032308" cy="1914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8944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0" y="992831"/>
            <a:ext cx="11232819" cy="426893"/>
          </a:xfrm>
        </p:spPr>
        <p:txBody>
          <a:bodyPr/>
          <a:lstStyle>
            <a:lvl1pPr marL="12700" indent="1142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36389" y="140654"/>
            <a:ext cx="7715996" cy="719988"/>
          </a:xfrm>
        </p:spPr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1671907"/>
            <a:ext cx="11232445" cy="4637412"/>
          </a:xfrm>
        </p:spPr>
        <p:txBody>
          <a:bodyPr>
            <a:normAutofit/>
          </a:bodyPr>
          <a:lstStyle>
            <a:lvl1pPr>
              <a:defRPr b="1"/>
            </a:lvl1pPr>
            <a:lvl2pPr marL="239994" indent="0">
              <a:spcBef>
                <a:spcPts val="0"/>
              </a:spcBef>
              <a:spcAft>
                <a:spcPts val="400"/>
              </a:spcAft>
              <a:buNone/>
              <a:defRPr/>
            </a:lvl2pPr>
            <a:lvl3pPr>
              <a:spcBef>
                <a:spcPts val="0"/>
              </a:spcBef>
              <a:spcAft>
                <a:spcPts val="133"/>
              </a:spcAft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41239217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8" y="2244363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8" y="3754141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8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0963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40" y="6333324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4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545005" y="6333324"/>
            <a:ext cx="9235315" cy="365125"/>
          </a:xfrm>
        </p:spPr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306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3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1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39825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1" y="3008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72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5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40" y="6333324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1" y="3008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26477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52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2" y="1316569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72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6" y="1316569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52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45865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526457" y="5849515"/>
            <a:ext cx="9235315" cy="365125"/>
          </a:xfrm>
        </p:spPr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73224151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>
          <a:xfrm>
            <a:off x="1103445" y="1124745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385287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884682"/>
            <a:ext cx="9697339" cy="384721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E00A51F-BAB5-4E2F-8F8F-B8655162D38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597243-D2CB-4FF3-ABBF-573AD9425AB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5BADCBC-553E-4CE5-8A13-806DE45F5F3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DF26EBE4-70B5-A4E3-6646-8012B1E0CE6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5627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 hasCustomPrompt="1"/>
          </p:nvPr>
        </p:nvSpPr>
        <p:spPr>
          <a:xfrm>
            <a:off x="1103448" y="1124745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 hasCustomPrompt="1"/>
          </p:nvPr>
        </p:nvSpPr>
        <p:spPr>
          <a:xfrm>
            <a:off x="6669737" y="1124745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324927389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grpSp>
        <p:nvGrpSpPr>
          <p:cNvPr id="22" name="Groupe 21"/>
          <p:cNvGrpSpPr/>
          <p:nvPr userDrawn="1"/>
        </p:nvGrpSpPr>
        <p:grpSpPr>
          <a:xfrm>
            <a:off x="6406216" y="1682636"/>
            <a:ext cx="4471897" cy="3372488"/>
            <a:chOff x="4804660" y="1261977"/>
            <a:chExt cx="3353923" cy="2529366"/>
          </a:xfrm>
        </p:grpSpPr>
        <p:sp>
          <p:nvSpPr>
            <p:cNvPr id="23" name="ZoneTexte 22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667" b="1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2000">
                  <a:solidFill>
                    <a:srgbClr val="575757"/>
                  </a:solidFill>
                </a:rPr>
                <a:t>Le portail</a:t>
              </a:r>
              <a:r>
                <a:rPr lang="fr-FR" sz="2000" baseline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2000">
                <a:solidFill>
                  <a:srgbClr val="575757"/>
                </a:solidFill>
              </a:endParaRPr>
            </a:p>
          </p:txBody>
        </p:sp>
        <p:pic>
          <p:nvPicPr>
            <p:cNvPr id="24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ZoneTexte 27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800"/>
                </a:spcAft>
              </a:pPr>
              <a:r>
                <a:rPr lang="fr-FR" sz="1200" b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400" b="0">
                <a:solidFill>
                  <a:srgbClr val="575757"/>
                </a:solidFill>
              </a:endParaRPr>
            </a:p>
            <a:p>
              <a:pPr algn="l"/>
              <a:endParaRPr lang="fr-FR" sz="667" b="0">
                <a:solidFill>
                  <a:srgbClr val="575757"/>
                </a:solidFill>
              </a:endParaRPr>
            </a:p>
            <a:p>
              <a:pPr algn="l"/>
              <a:r>
                <a:rPr lang="fr-FR" sz="1200" b="0">
                  <a:solidFill>
                    <a:srgbClr val="575757"/>
                  </a:solidFill>
                </a:rPr>
                <a:t>linkedin.com/</a:t>
              </a:r>
              <a:r>
                <a:rPr lang="fr-FR" sz="1200" b="0" err="1">
                  <a:solidFill>
                    <a:srgbClr val="575757"/>
                  </a:solidFill>
                </a:rPr>
                <a:t>company</a:t>
              </a:r>
              <a:r>
                <a:rPr lang="fr-FR" sz="1200" b="0">
                  <a:solidFill>
                    <a:srgbClr val="575757"/>
                  </a:solidFill>
                </a:rPr>
                <a:t>/agence-du-</a:t>
              </a:r>
              <a:r>
                <a:rPr lang="fr-FR" sz="1200" b="0" err="1">
                  <a:solidFill>
                    <a:srgbClr val="575757"/>
                  </a:solidFill>
                </a:rPr>
                <a:t>numerique</a:t>
              </a:r>
              <a:r>
                <a:rPr lang="fr-FR" sz="1200" b="0">
                  <a:solidFill>
                    <a:srgbClr val="575757"/>
                  </a:solidFill>
                </a:rPr>
                <a:t>-</a:t>
              </a:r>
              <a:r>
                <a:rPr lang="fr-FR" sz="1200" b="0" err="1">
                  <a:solidFill>
                    <a:srgbClr val="575757"/>
                  </a:solidFill>
                </a:rPr>
                <a:t>en-sante</a:t>
              </a:r>
              <a:endParaRPr lang="fr-FR" sz="1067" b="0">
                <a:solidFill>
                  <a:srgbClr val="57575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35996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3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1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7" y="2614472"/>
            <a:ext cx="1846271" cy="162906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D44CB818-06B1-4F1B-9832-889C4BE10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5629996"/>
            <a:ext cx="5749296" cy="885891"/>
          </a:xfrm>
        </p:spPr>
        <p:txBody>
          <a:bodyPr>
            <a:noAutofit/>
          </a:bodyPr>
          <a:lstStyle>
            <a:lvl1pPr algn="l">
              <a:defRPr sz="1600" b="0" i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– Numéro de version</a:t>
            </a:r>
          </a:p>
        </p:txBody>
      </p:sp>
      <p:pic>
        <p:nvPicPr>
          <p:cNvPr id="14" name="Picture 13" descr="Text&#10;&#10;Description automatically generated">
            <a:extLst>
              <a:ext uri="{FF2B5EF4-FFF2-40B4-BE49-F238E27FC236}">
                <a16:creationId xmlns:a16="http://schemas.microsoft.com/office/drawing/2014/main" id="{D344C82C-0767-4A22-92F2-FF98BE44B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961"/>
          <a:stretch/>
        </p:blipFill>
        <p:spPr>
          <a:xfrm>
            <a:off x="8602339" y="308969"/>
            <a:ext cx="3050343" cy="11833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C3DC426-EA19-45F8-BE91-49889AD9FC25}"/>
              </a:ext>
            </a:extLst>
          </p:cNvPr>
          <p:cNvSpPr/>
          <p:nvPr userDrawn="1"/>
        </p:nvSpPr>
        <p:spPr>
          <a:xfrm>
            <a:off x="11074400" y="474133"/>
            <a:ext cx="578280" cy="554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375833791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0" y="6396843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>
                <a:solidFill>
                  <a:srgbClr val="000000"/>
                </a:solidFill>
              </a:rPr>
              <a:pPr/>
              <a:t>14/09/2023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7"/>
            <a:ext cx="11232819" cy="323935"/>
          </a:xfrm>
        </p:spPr>
        <p:txBody>
          <a:bodyPr/>
          <a:lstStyle>
            <a:lvl1pPr marL="12700" indent="11429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79" indent="-19199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2276873"/>
            <a:ext cx="11232445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7516553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615948" y="2244363"/>
            <a:ext cx="6036733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5615948" y="3754141"/>
            <a:ext cx="6036733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15948" y="5219763"/>
            <a:ext cx="6036733" cy="513493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74376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40" y="6333324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2357096"/>
            <a:ext cx="3648405" cy="2880320"/>
          </a:xfrm>
        </p:spPr>
        <p:txBody>
          <a:bodyPr numCol="1">
            <a:normAutofit/>
          </a:bodyPr>
          <a:lstStyle>
            <a:lvl1pPr marL="0" indent="0" algn="l" defTabSz="1219140" rtl="0" eaLnBrk="1" latinLnBrk="0" hangingPunct="1">
              <a:lnSpc>
                <a:spcPct val="150000"/>
              </a:lnSpc>
              <a:spcBef>
                <a:spcPts val="267"/>
              </a:spcBef>
              <a:spcAft>
                <a:spcPts val="0"/>
              </a:spcAft>
              <a:buFontTx/>
              <a:buNone/>
              <a:defRPr lang="fr-FR" sz="1867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hapitre 1</a:t>
            </a:r>
          </a:p>
          <a:p>
            <a:pPr lvl="0"/>
            <a:r>
              <a:rPr lang="fr-FR"/>
              <a:t>Chapitre 2</a:t>
            </a:r>
          </a:p>
          <a:p>
            <a:pPr lvl="0"/>
            <a:r>
              <a:rPr lang="fr-FR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>
          <a:xfrm>
            <a:off x="545005" y="6333324"/>
            <a:ext cx="9235315" cy="365125"/>
          </a:xfrm>
        </p:spPr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5903384" y="1220755"/>
            <a:ext cx="4129053" cy="137666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sz="3733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48908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3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1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40013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1" y="3008"/>
            <a:ext cx="10029481" cy="6854995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4267" kern="800" cap="none" baseline="0">
                <a:solidFill>
                  <a:schemeClr val="bg1"/>
                </a:solidFill>
              </a:defRPr>
            </a:lvl1pPr>
            <a:lvl2pPr marL="578972" indent="0">
              <a:lnSpc>
                <a:spcPct val="80000"/>
              </a:lnSpc>
              <a:buNone/>
              <a:defRPr sz="4267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 principal de la slide</a:t>
            </a:r>
          </a:p>
          <a:p>
            <a:pPr lvl="1"/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24717" y="3236385"/>
            <a:ext cx="3935379" cy="2497667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43340" y="6333324"/>
            <a:ext cx="383117" cy="365125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Rectangle 8"/>
          <p:cNvSpPr/>
          <p:nvPr userDrawn="1"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2521" y="3008"/>
            <a:ext cx="10029481" cy="68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14182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2" y="252952"/>
            <a:ext cx="876497" cy="775781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32102" y="1316569"/>
            <a:ext cx="3647943" cy="2495551"/>
          </a:xfrm>
          <a:prstGeom prst="rect">
            <a:avLst/>
          </a:prstGeom>
        </p:spPr>
        <p:txBody>
          <a:bodyPr/>
          <a:lstStyle>
            <a:lvl1pPr>
              <a:defRPr sz="3733" kern="800" cap="all" baseline="0"/>
            </a:lvl1pPr>
            <a:lvl2pPr marL="578972" indent="0">
              <a:buNone/>
              <a:defRPr sz="4267"/>
            </a:lvl2pPr>
          </a:lstStyle>
          <a:p>
            <a:pPr lvl="0"/>
            <a:r>
              <a:rPr lang="fr-FR"/>
              <a:t>Titre de la slide</a:t>
            </a:r>
          </a:p>
          <a:p>
            <a:pPr lvl="1"/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72066" y="1316569"/>
            <a:ext cx="4610100" cy="2495551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867" b="0"/>
            </a:lvl1pPr>
          </a:lstStyle>
          <a:p>
            <a:pPr lvl="0"/>
            <a:r>
              <a:rPr lang="fr-FR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2" y="252952"/>
            <a:ext cx="876497" cy="77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07846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>
          <a:xfrm>
            <a:off x="526457" y="5849515"/>
            <a:ext cx="9235315" cy="365125"/>
          </a:xfrm>
        </p:spPr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96179232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err="1"/>
              <a:t>Add</a:t>
            </a:r>
            <a:r>
              <a:rPr lang="fr-FR"/>
              <a:t>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8A37BD45-02C1-4679-89C7-50402EEF7A4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39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FC07CB87-6971-49CB-8B51-75BC0097442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1399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Source: …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4B76FC-74B5-4A62-9765-3A37F541669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312525" y="6504470"/>
            <a:ext cx="325501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3394941F-D611-7557-987B-178D6D4866F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56928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>
          <a:xfrm>
            <a:off x="1103445" y="1124745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86328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03445" y="116632"/>
            <a:ext cx="10752123" cy="72000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 hasCustomPrompt="1"/>
          </p:nvPr>
        </p:nvSpPr>
        <p:spPr>
          <a:xfrm>
            <a:off x="1103448" y="1124745"/>
            <a:ext cx="5185833" cy="499255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 hasCustomPrompt="1"/>
          </p:nvPr>
        </p:nvSpPr>
        <p:spPr>
          <a:xfrm>
            <a:off x="6669737" y="1124745"/>
            <a:ext cx="5185833" cy="4992555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867">
                <a:solidFill>
                  <a:srgbClr val="575757"/>
                </a:solidFill>
              </a:defRPr>
            </a:lvl4pPr>
            <a:lvl5pPr>
              <a:defRPr sz="16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867" b="0" i="0" u="none" strike="noStrike" kern="1200" cap="none" spc="0" normalizeH="0" baseline="0" noProof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697427024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Rectangle 6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715" y="296542"/>
            <a:ext cx="1815188" cy="626492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5" y="2614471"/>
            <a:ext cx="1846271" cy="1629063"/>
          </a:xfrm>
          <a:prstGeom prst="rect">
            <a:avLst/>
          </a:prstGeom>
        </p:spPr>
      </p:pic>
      <p:grpSp>
        <p:nvGrpSpPr>
          <p:cNvPr id="22" name="Groupe 21"/>
          <p:cNvGrpSpPr/>
          <p:nvPr userDrawn="1"/>
        </p:nvGrpSpPr>
        <p:grpSpPr>
          <a:xfrm>
            <a:off x="6406216" y="1682636"/>
            <a:ext cx="4471897" cy="3372488"/>
            <a:chOff x="4804660" y="1261977"/>
            <a:chExt cx="3353923" cy="2529366"/>
          </a:xfrm>
        </p:grpSpPr>
        <p:sp>
          <p:nvSpPr>
            <p:cNvPr id="23" name="ZoneTexte 22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667" b="1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2000">
                  <a:solidFill>
                    <a:srgbClr val="575757"/>
                  </a:solidFill>
                </a:rPr>
                <a:t>Le portail</a:t>
              </a:r>
              <a:r>
                <a:rPr lang="fr-FR" sz="2000" baseline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2000">
                <a:solidFill>
                  <a:srgbClr val="575757"/>
                </a:solidFill>
              </a:endParaRPr>
            </a:p>
          </p:txBody>
        </p:sp>
        <p:pic>
          <p:nvPicPr>
            <p:cNvPr id="24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ZoneTexte 27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800"/>
                </a:spcAft>
              </a:pPr>
              <a:r>
                <a:rPr lang="fr-FR" sz="1200" b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400" b="0">
                <a:solidFill>
                  <a:srgbClr val="575757"/>
                </a:solidFill>
              </a:endParaRPr>
            </a:p>
            <a:p>
              <a:pPr algn="l"/>
              <a:endParaRPr lang="fr-FR" sz="667" b="0">
                <a:solidFill>
                  <a:srgbClr val="575757"/>
                </a:solidFill>
              </a:endParaRPr>
            </a:p>
            <a:p>
              <a:pPr algn="l"/>
              <a:r>
                <a:rPr lang="fr-FR" sz="1200" b="0">
                  <a:solidFill>
                    <a:srgbClr val="575757"/>
                  </a:solidFill>
                </a:rPr>
                <a:t>linkedin.com/</a:t>
              </a:r>
              <a:r>
                <a:rPr lang="fr-FR" sz="1200" b="0" err="1">
                  <a:solidFill>
                    <a:srgbClr val="575757"/>
                  </a:solidFill>
                </a:rPr>
                <a:t>company</a:t>
              </a:r>
              <a:r>
                <a:rPr lang="fr-FR" sz="1200" b="0">
                  <a:solidFill>
                    <a:srgbClr val="575757"/>
                  </a:solidFill>
                </a:rPr>
                <a:t>/agence-du-</a:t>
              </a:r>
              <a:r>
                <a:rPr lang="fr-FR" sz="1200" b="0" err="1">
                  <a:solidFill>
                    <a:srgbClr val="575757"/>
                  </a:solidFill>
                </a:rPr>
                <a:t>numerique</a:t>
              </a:r>
              <a:r>
                <a:rPr lang="fr-FR" sz="1200" b="0">
                  <a:solidFill>
                    <a:srgbClr val="575757"/>
                  </a:solidFill>
                </a:rPr>
                <a:t>-</a:t>
              </a:r>
              <a:r>
                <a:rPr lang="fr-FR" sz="1200" b="0" err="1">
                  <a:solidFill>
                    <a:srgbClr val="575757"/>
                  </a:solidFill>
                </a:rPr>
                <a:t>en-sante</a:t>
              </a:r>
              <a:endParaRPr lang="fr-FR" sz="1067" b="0">
                <a:solidFill>
                  <a:srgbClr val="57575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047958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5903384" y="2244363"/>
            <a:ext cx="5749296" cy="1376660"/>
          </a:xfrm>
        </p:spPr>
        <p:txBody>
          <a:bodyPr anchor="ctr" anchorCtr="0">
            <a:noAutofit/>
          </a:bodyPr>
          <a:lstStyle>
            <a:lvl1pPr algn="l">
              <a:lnSpc>
                <a:spcPts val="3600"/>
              </a:lnSpc>
              <a:spcBef>
                <a:spcPts val="0"/>
              </a:spcBef>
              <a:defRPr sz="3733" baseline="0">
                <a:solidFill>
                  <a:srgbClr val="006AB2"/>
                </a:solidFill>
              </a:defRPr>
            </a:lvl1pPr>
          </a:lstStyle>
          <a:p>
            <a:r>
              <a:rPr lang="fr-FR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5903384" y="3754141"/>
            <a:ext cx="5749296" cy="885891"/>
          </a:xfrm>
        </p:spPr>
        <p:txBody>
          <a:bodyPr>
            <a:noAutofit/>
          </a:bodyPr>
          <a:lstStyle>
            <a:lvl1pPr algn="l">
              <a:defRPr sz="2667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7" y="2614472"/>
            <a:ext cx="1846271" cy="162906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002" y="192021"/>
            <a:ext cx="1746908" cy="6405331"/>
          </a:xfrm>
          <a:prstGeom prst="rect">
            <a:avLst/>
          </a:prstGeom>
        </p:spPr>
      </p:pic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D44CB818-06B1-4F1B-9832-889C4BE10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3384" y="5629996"/>
            <a:ext cx="5749296" cy="885891"/>
          </a:xfrm>
        </p:spPr>
        <p:txBody>
          <a:bodyPr>
            <a:noAutofit/>
          </a:bodyPr>
          <a:lstStyle>
            <a:lvl1pPr algn="l">
              <a:defRPr sz="1600" b="0" i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/>
              <a:t>Date – Numéro de version</a:t>
            </a:r>
          </a:p>
        </p:txBody>
      </p:sp>
      <p:pic>
        <p:nvPicPr>
          <p:cNvPr id="14" name="Picture 13" descr="Text&#10;&#10;Description automatically generated">
            <a:extLst>
              <a:ext uri="{FF2B5EF4-FFF2-40B4-BE49-F238E27FC236}">
                <a16:creationId xmlns:a16="http://schemas.microsoft.com/office/drawing/2014/main" id="{D344C82C-0767-4A22-92F2-FF98BE44BC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961"/>
          <a:stretch/>
        </p:blipFill>
        <p:spPr>
          <a:xfrm>
            <a:off x="8602339" y="308969"/>
            <a:ext cx="3050343" cy="11833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C3DC426-EA19-45F8-BE91-49889AD9FC25}"/>
              </a:ext>
            </a:extLst>
          </p:cNvPr>
          <p:cNvSpPr/>
          <p:nvPr userDrawn="1"/>
        </p:nvSpPr>
        <p:spPr>
          <a:xfrm>
            <a:off x="11074400" y="474133"/>
            <a:ext cx="578280" cy="554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783600252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0" y="6396843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>
                <a:solidFill>
                  <a:srgbClr val="000000"/>
                </a:solidFill>
              </a:rPr>
              <a:pPr/>
              <a:t>14/09/2023</a:t>
            </a:fld>
            <a:endParaRPr lang="fr-FR" cap="all">
              <a:solidFill>
                <a:srgbClr val="000000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7"/>
            <a:ext cx="11232819" cy="323935"/>
          </a:xfrm>
        </p:spPr>
        <p:txBody>
          <a:bodyPr/>
          <a:lstStyle>
            <a:lvl1pPr marL="12700" indent="114294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79" indent="-19199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2276873"/>
            <a:ext cx="11232445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132334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49.vml"/><Relationship Id="rId18" Type="http://schemas.openxmlformats.org/officeDocument/2006/relationships/tags" Target="../tags/tag396.xml"/><Relationship Id="rId26" Type="http://schemas.openxmlformats.org/officeDocument/2006/relationships/tags" Target="../tags/tag404.xml"/><Relationship Id="rId39" Type="http://schemas.openxmlformats.org/officeDocument/2006/relationships/tags" Target="../tags/tag417.xml"/><Relationship Id="rId21" Type="http://schemas.openxmlformats.org/officeDocument/2006/relationships/tags" Target="../tags/tag399.xml"/><Relationship Id="rId34" Type="http://schemas.openxmlformats.org/officeDocument/2006/relationships/tags" Target="../tags/tag412.xml"/><Relationship Id="rId42" Type="http://schemas.openxmlformats.org/officeDocument/2006/relationships/tags" Target="../tags/tag420.xml"/><Relationship Id="rId47" Type="http://schemas.openxmlformats.org/officeDocument/2006/relationships/image" Target="../media/image45.emf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394.xml"/><Relationship Id="rId29" Type="http://schemas.openxmlformats.org/officeDocument/2006/relationships/tags" Target="../tags/tag407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tags" Target="../tags/tag402.xml"/><Relationship Id="rId32" Type="http://schemas.openxmlformats.org/officeDocument/2006/relationships/tags" Target="../tags/tag410.xml"/><Relationship Id="rId37" Type="http://schemas.openxmlformats.org/officeDocument/2006/relationships/tags" Target="../tags/tag415.xml"/><Relationship Id="rId40" Type="http://schemas.openxmlformats.org/officeDocument/2006/relationships/tags" Target="../tags/tag418.xml"/><Relationship Id="rId45" Type="http://schemas.openxmlformats.org/officeDocument/2006/relationships/tags" Target="../tags/tag423.xml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28" Type="http://schemas.openxmlformats.org/officeDocument/2006/relationships/tags" Target="../tags/tag406.xml"/><Relationship Id="rId36" Type="http://schemas.openxmlformats.org/officeDocument/2006/relationships/tags" Target="../tags/tag414.xml"/><Relationship Id="rId10" Type="http://schemas.openxmlformats.org/officeDocument/2006/relationships/slideLayout" Target="../slideLayouts/slideLayout82.xml"/><Relationship Id="rId19" Type="http://schemas.openxmlformats.org/officeDocument/2006/relationships/tags" Target="../tags/tag397.xml"/><Relationship Id="rId31" Type="http://schemas.openxmlformats.org/officeDocument/2006/relationships/tags" Target="../tags/tag409.xml"/><Relationship Id="rId44" Type="http://schemas.openxmlformats.org/officeDocument/2006/relationships/tags" Target="../tags/tag42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tags" Target="../tags/tag405.xml"/><Relationship Id="rId30" Type="http://schemas.openxmlformats.org/officeDocument/2006/relationships/tags" Target="../tags/tag408.xml"/><Relationship Id="rId35" Type="http://schemas.openxmlformats.org/officeDocument/2006/relationships/tags" Target="../tags/tag413.xml"/><Relationship Id="rId43" Type="http://schemas.openxmlformats.org/officeDocument/2006/relationships/tags" Target="../tags/tag421.xml"/><Relationship Id="rId48" Type="http://schemas.openxmlformats.org/officeDocument/2006/relationships/image" Target="../media/image46.png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12" Type="http://schemas.openxmlformats.org/officeDocument/2006/relationships/theme" Target="../theme/theme10.xml"/><Relationship Id="rId17" Type="http://schemas.openxmlformats.org/officeDocument/2006/relationships/tags" Target="../tags/tag395.xml"/><Relationship Id="rId25" Type="http://schemas.openxmlformats.org/officeDocument/2006/relationships/tags" Target="../tags/tag403.xml"/><Relationship Id="rId33" Type="http://schemas.openxmlformats.org/officeDocument/2006/relationships/tags" Target="../tags/tag411.xml"/><Relationship Id="rId38" Type="http://schemas.openxmlformats.org/officeDocument/2006/relationships/tags" Target="../tags/tag416.xml"/><Relationship Id="rId46" Type="http://schemas.openxmlformats.org/officeDocument/2006/relationships/oleObject" Target="../embeddings/oleObject51.bin"/><Relationship Id="rId20" Type="http://schemas.openxmlformats.org/officeDocument/2006/relationships/tags" Target="../tags/tag398.xml"/><Relationship Id="rId41" Type="http://schemas.openxmlformats.org/officeDocument/2006/relationships/tags" Target="../tags/tag419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50.vml"/><Relationship Id="rId18" Type="http://schemas.openxmlformats.org/officeDocument/2006/relationships/tags" Target="../tags/tag428.xml"/><Relationship Id="rId26" Type="http://schemas.openxmlformats.org/officeDocument/2006/relationships/tags" Target="../tags/tag436.xml"/><Relationship Id="rId39" Type="http://schemas.openxmlformats.org/officeDocument/2006/relationships/tags" Target="../tags/tag449.xml"/><Relationship Id="rId21" Type="http://schemas.openxmlformats.org/officeDocument/2006/relationships/tags" Target="../tags/tag431.xml"/><Relationship Id="rId34" Type="http://schemas.openxmlformats.org/officeDocument/2006/relationships/tags" Target="../tags/tag444.xml"/><Relationship Id="rId42" Type="http://schemas.openxmlformats.org/officeDocument/2006/relationships/tags" Target="../tags/tag452.xml"/><Relationship Id="rId47" Type="http://schemas.openxmlformats.org/officeDocument/2006/relationships/image" Target="../media/image45.emf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426.xml"/><Relationship Id="rId29" Type="http://schemas.openxmlformats.org/officeDocument/2006/relationships/tags" Target="../tags/tag439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tags" Target="../tags/tag434.xml"/><Relationship Id="rId32" Type="http://schemas.openxmlformats.org/officeDocument/2006/relationships/tags" Target="../tags/tag442.xml"/><Relationship Id="rId37" Type="http://schemas.openxmlformats.org/officeDocument/2006/relationships/tags" Target="../tags/tag447.xml"/><Relationship Id="rId40" Type="http://schemas.openxmlformats.org/officeDocument/2006/relationships/tags" Target="../tags/tag450.xml"/><Relationship Id="rId45" Type="http://schemas.openxmlformats.org/officeDocument/2006/relationships/tags" Target="../tags/tag455.xml"/><Relationship Id="rId5" Type="http://schemas.openxmlformats.org/officeDocument/2006/relationships/slideLayout" Target="../slideLayouts/slideLayout88.xml"/><Relationship Id="rId15" Type="http://schemas.openxmlformats.org/officeDocument/2006/relationships/tags" Target="../tags/tag425.xml"/><Relationship Id="rId23" Type="http://schemas.openxmlformats.org/officeDocument/2006/relationships/tags" Target="../tags/tag433.xml"/><Relationship Id="rId28" Type="http://schemas.openxmlformats.org/officeDocument/2006/relationships/tags" Target="../tags/tag438.xml"/><Relationship Id="rId36" Type="http://schemas.openxmlformats.org/officeDocument/2006/relationships/tags" Target="../tags/tag446.xml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429.xml"/><Relationship Id="rId31" Type="http://schemas.openxmlformats.org/officeDocument/2006/relationships/tags" Target="../tags/tag441.xml"/><Relationship Id="rId44" Type="http://schemas.openxmlformats.org/officeDocument/2006/relationships/tags" Target="../tags/tag45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ags" Target="../tags/tag424.xml"/><Relationship Id="rId22" Type="http://schemas.openxmlformats.org/officeDocument/2006/relationships/tags" Target="../tags/tag432.xml"/><Relationship Id="rId27" Type="http://schemas.openxmlformats.org/officeDocument/2006/relationships/tags" Target="../tags/tag437.xml"/><Relationship Id="rId30" Type="http://schemas.openxmlformats.org/officeDocument/2006/relationships/tags" Target="../tags/tag440.xml"/><Relationship Id="rId35" Type="http://schemas.openxmlformats.org/officeDocument/2006/relationships/tags" Target="../tags/tag445.xml"/><Relationship Id="rId43" Type="http://schemas.openxmlformats.org/officeDocument/2006/relationships/tags" Target="../tags/tag453.xml"/><Relationship Id="rId48" Type="http://schemas.openxmlformats.org/officeDocument/2006/relationships/image" Target="../media/image48.png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12" Type="http://schemas.openxmlformats.org/officeDocument/2006/relationships/theme" Target="../theme/theme11.xml"/><Relationship Id="rId17" Type="http://schemas.openxmlformats.org/officeDocument/2006/relationships/tags" Target="../tags/tag427.xml"/><Relationship Id="rId25" Type="http://schemas.openxmlformats.org/officeDocument/2006/relationships/tags" Target="../tags/tag435.xml"/><Relationship Id="rId33" Type="http://schemas.openxmlformats.org/officeDocument/2006/relationships/tags" Target="../tags/tag443.xml"/><Relationship Id="rId38" Type="http://schemas.openxmlformats.org/officeDocument/2006/relationships/tags" Target="../tags/tag448.xml"/><Relationship Id="rId46" Type="http://schemas.openxmlformats.org/officeDocument/2006/relationships/oleObject" Target="../embeddings/oleObject52.bin"/><Relationship Id="rId20" Type="http://schemas.openxmlformats.org/officeDocument/2006/relationships/tags" Target="../tags/tag430.xml"/><Relationship Id="rId41" Type="http://schemas.openxmlformats.org/officeDocument/2006/relationships/tags" Target="../tags/tag45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89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11.v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oleObject" Target="../embeddings/oleObject1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image" Target="../media/image3.emf"/><Relationship Id="rId3" Type="http://schemas.openxmlformats.org/officeDocument/2006/relationships/vmlDrawing" Target="../drawings/vmlDrawing19.vml"/><Relationship Id="rId21" Type="http://schemas.openxmlformats.org/officeDocument/2006/relationships/tags" Target="../tags/tag154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oleObject" Target="../embeddings/oleObject19.bin"/><Relationship Id="rId2" Type="http://schemas.openxmlformats.org/officeDocument/2006/relationships/theme" Target="../theme/theme3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21.vml"/><Relationship Id="rId18" Type="http://schemas.openxmlformats.org/officeDocument/2006/relationships/tags" Target="../tags/tag170.xml"/><Relationship Id="rId26" Type="http://schemas.openxmlformats.org/officeDocument/2006/relationships/tags" Target="../tags/tag178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73.xml"/><Relationship Id="rId34" Type="http://schemas.openxmlformats.org/officeDocument/2006/relationships/oleObject" Target="../embeddings/oleObject21.bin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4.xml"/><Relationship Id="rId17" Type="http://schemas.openxmlformats.org/officeDocument/2006/relationships/tags" Target="../tags/tag169.xml"/><Relationship Id="rId25" Type="http://schemas.openxmlformats.org/officeDocument/2006/relationships/tags" Target="../tags/tag177.xml"/><Relationship Id="rId33" Type="http://schemas.openxmlformats.org/officeDocument/2006/relationships/tags" Target="../tags/tag185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68.xml"/><Relationship Id="rId20" Type="http://schemas.openxmlformats.org/officeDocument/2006/relationships/tags" Target="../tags/tag172.xml"/><Relationship Id="rId29" Type="http://schemas.openxmlformats.org/officeDocument/2006/relationships/tags" Target="../tags/tag181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76.xml"/><Relationship Id="rId32" Type="http://schemas.openxmlformats.org/officeDocument/2006/relationships/tags" Target="../tags/tag184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167.xml"/><Relationship Id="rId23" Type="http://schemas.openxmlformats.org/officeDocument/2006/relationships/tags" Target="../tags/tag175.xml"/><Relationship Id="rId28" Type="http://schemas.openxmlformats.org/officeDocument/2006/relationships/tags" Target="../tags/tag180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71.xml"/><Relationship Id="rId31" Type="http://schemas.openxmlformats.org/officeDocument/2006/relationships/tags" Target="../tags/tag18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166.xml"/><Relationship Id="rId22" Type="http://schemas.openxmlformats.org/officeDocument/2006/relationships/tags" Target="../tags/tag174.xml"/><Relationship Id="rId27" Type="http://schemas.openxmlformats.org/officeDocument/2006/relationships/tags" Target="../tags/tag179.xml"/><Relationship Id="rId30" Type="http://schemas.openxmlformats.org/officeDocument/2006/relationships/tags" Target="../tags/tag182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26" Type="http://schemas.openxmlformats.org/officeDocument/2006/relationships/tags" Target="../tags/tag263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58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tags" Target="../tags/tag26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253.xml"/><Relationship Id="rId20" Type="http://schemas.openxmlformats.org/officeDocument/2006/relationships/tags" Target="../tags/tag257.xml"/><Relationship Id="rId29" Type="http://schemas.openxmlformats.org/officeDocument/2006/relationships/tags" Target="../tags/tag266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48.xml"/><Relationship Id="rId24" Type="http://schemas.openxmlformats.org/officeDocument/2006/relationships/tags" Target="../tags/tag26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252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10" Type="http://schemas.openxmlformats.org/officeDocument/2006/relationships/vmlDrawing" Target="../drawings/vmlDrawing33.vml"/><Relationship Id="rId19" Type="http://schemas.openxmlformats.org/officeDocument/2006/relationships/tags" Target="../tags/tag256.xml"/><Relationship Id="rId31" Type="http://schemas.openxmlformats.org/officeDocument/2006/relationships/oleObject" Target="../embeddings/oleObject33.bin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5.xml"/><Relationship Id="rId14" Type="http://schemas.openxmlformats.org/officeDocument/2006/relationships/tags" Target="../tags/tag251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8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26" Type="http://schemas.openxmlformats.org/officeDocument/2006/relationships/oleObject" Target="../embeddings/oleObject36.bin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94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tags" Target="../tags/tag298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29" Type="http://schemas.openxmlformats.org/officeDocument/2006/relationships/image" Target="../media/image15.png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24" Type="http://schemas.openxmlformats.org/officeDocument/2006/relationships/tags" Target="../tags/tag297.xml"/><Relationship Id="rId5" Type="http://schemas.openxmlformats.org/officeDocument/2006/relationships/vmlDrawing" Target="../drawings/vmlDrawing36.v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28" Type="http://schemas.openxmlformats.org/officeDocument/2006/relationships/image" Target="../media/image14.png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4" Type="http://schemas.openxmlformats.org/officeDocument/2006/relationships/theme" Target="../theme/theme6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313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8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312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311.xml"/><Relationship Id="rId20" Type="http://schemas.openxmlformats.org/officeDocument/2006/relationships/tags" Target="../tags/tag315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310.xml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314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tags" Target="../tags/tag323.xml"/><Relationship Id="rId18" Type="http://schemas.openxmlformats.org/officeDocument/2006/relationships/tags" Target="../tags/tag328.xml"/><Relationship Id="rId26" Type="http://schemas.openxmlformats.org/officeDocument/2006/relationships/tags" Target="../tags/tag336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331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322.xml"/><Relationship Id="rId17" Type="http://schemas.openxmlformats.org/officeDocument/2006/relationships/tags" Target="../tags/tag327.xml"/><Relationship Id="rId25" Type="http://schemas.openxmlformats.org/officeDocument/2006/relationships/tags" Target="../tags/tag33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326.xml"/><Relationship Id="rId20" Type="http://schemas.openxmlformats.org/officeDocument/2006/relationships/tags" Target="../tags/tag330.xml"/><Relationship Id="rId29" Type="http://schemas.openxmlformats.org/officeDocument/2006/relationships/tags" Target="../tags/tag339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vmlDrawing" Target="../drawings/vmlDrawing40.vml"/><Relationship Id="rId24" Type="http://schemas.openxmlformats.org/officeDocument/2006/relationships/tags" Target="../tags/tag334.xml"/><Relationship Id="rId32" Type="http://schemas.openxmlformats.org/officeDocument/2006/relationships/oleObject" Target="../embeddings/oleObject40.bin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325.xml"/><Relationship Id="rId23" Type="http://schemas.openxmlformats.org/officeDocument/2006/relationships/tags" Target="../tags/tag333.xml"/><Relationship Id="rId28" Type="http://schemas.openxmlformats.org/officeDocument/2006/relationships/tags" Target="../tags/tag338.xml"/><Relationship Id="rId10" Type="http://schemas.openxmlformats.org/officeDocument/2006/relationships/theme" Target="../theme/theme8.xml"/><Relationship Id="rId19" Type="http://schemas.openxmlformats.org/officeDocument/2006/relationships/tags" Target="../tags/tag329.xml"/><Relationship Id="rId31" Type="http://schemas.openxmlformats.org/officeDocument/2006/relationships/tags" Target="../tags/tag341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324.xml"/><Relationship Id="rId22" Type="http://schemas.openxmlformats.org/officeDocument/2006/relationships/tags" Target="../tags/tag332.xml"/><Relationship Id="rId27" Type="http://schemas.openxmlformats.org/officeDocument/2006/relationships/tags" Target="../tags/tag337.xml"/><Relationship Id="rId30" Type="http://schemas.openxmlformats.org/officeDocument/2006/relationships/tags" Target="../tags/tag340.xml"/><Relationship Id="rId8" Type="http://schemas.openxmlformats.org/officeDocument/2006/relationships/slideLayout" Target="../slideLayouts/slideLayout6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37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527CD336-6068-7806-DA25-4BD22F073988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0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2" r:id="rId1"/>
    <p:sldLayoutId id="2147484463" r:id="rId2"/>
    <p:sldLayoutId id="2147484464" r:id="rId3"/>
    <p:sldLayoutId id="2147484465" r:id="rId4"/>
    <p:sldLayoutId id="2147484466" r:id="rId5"/>
    <p:sldLayoutId id="2147484467" r:id="rId6"/>
    <p:sldLayoutId id="2147484468" r:id="rId7"/>
    <p:sldLayoutId id="2147484469" r:id="rId8"/>
    <p:sldLayoutId id="2147484470" r:id="rId9"/>
    <p:sldLayoutId id="2147484474" r:id="rId1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4454C13B-D53F-4774-85A5-C68C60E9A6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095376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Diapositive think-cell" r:id="rId46" imgW="416" imgH="416" progId="TCLayout.ActiveDocument.1">
                  <p:embed/>
                </p:oleObj>
              </mc:Choice>
              <mc:Fallback>
                <p:oleObj name="Diapositive think-cell" r:id="rId46" imgW="416" imgH="416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4454C13B-D53F-4774-85A5-C68C60E9A6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5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52" marR="0" lvl="1" indent="-380981" algn="l" defTabSz="121914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28" marR="0" lvl="2" indent="-335984" algn="l" defTabSz="121914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04" marR="0" lvl="3" indent="-287986" algn="l" defTabSz="121914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880" marR="0" lvl="4" indent="-287986" algn="l" defTabSz="121914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40" y="6333324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5" y="6333324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855" y="116632"/>
            <a:ext cx="715733" cy="633600"/>
          </a:xfrm>
          <a:prstGeom prst="rect">
            <a:avLst/>
          </a:prstGeom>
        </p:spPr>
      </p:pic>
      <p:grpSp>
        <p:nvGrpSpPr>
          <p:cNvPr id="33" name="Bars 4" hidden="1">
            <a:extLst>
              <a:ext uri="{FF2B5EF4-FFF2-40B4-BE49-F238E27FC236}">
                <a16:creationId xmlns:a16="http://schemas.microsoft.com/office/drawing/2014/main" id="{636A71B9-3230-45E8-A975-50F7E21BFEFB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12361333" y="0"/>
            <a:ext cx="366427" cy="398437"/>
            <a:chOff x="4422587" y="5247405"/>
            <a:chExt cx="274820" cy="298828"/>
          </a:xfrm>
        </p:grpSpPr>
        <p:sp>
          <p:nvSpPr>
            <p:cNvPr id="34" name="0/4 [0+]" hidden="1">
              <a:extLst>
                <a:ext uri="{FF2B5EF4-FFF2-40B4-BE49-F238E27FC236}">
                  <a16:creationId xmlns:a16="http://schemas.microsoft.com/office/drawing/2014/main" id="{D491C13A-2F6B-4A1D-8116-7FA95B8BF237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422587" y="5388955"/>
              <a:ext cx="49805" cy="157278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5" name="1/4 [1+]" hidden="1">
              <a:extLst>
                <a:ext uri="{FF2B5EF4-FFF2-40B4-BE49-F238E27FC236}">
                  <a16:creationId xmlns:a16="http://schemas.microsoft.com/office/drawing/2014/main" id="{37914C88-21E9-4216-BEB0-8D6894FADBFF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422587" y="5388955"/>
              <a:ext cx="49805" cy="157278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0/4 [0+]" hidden="1">
              <a:extLst>
                <a:ext uri="{FF2B5EF4-FFF2-40B4-BE49-F238E27FC236}">
                  <a16:creationId xmlns:a16="http://schemas.microsoft.com/office/drawing/2014/main" id="{918A94FD-4699-491B-938A-CE72DA44DA9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497592" y="5341772"/>
              <a:ext cx="49805" cy="204461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2/4 [2+]" hidden="1">
              <a:extLst>
                <a:ext uri="{FF2B5EF4-FFF2-40B4-BE49-F238E27FC236}">
                  <a16:creationId xmlns:a16="http://schemas.microsoft.com/office/drawing/2014/main" id="{7426F522-4056-49A1-9ADC-D13F8B50F170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497592" y="5341772"/>
              <a:ext cx="49805" cy="204461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8" name="0/4 [0+]" hidden="1">
              <a:extLst>
                <a:ext uri="{FF2B5EF4-FFF2-40B4-BE49-F238E27FC236}">
                  <a16:creationId xmlns:a16="http://schemas.microsoft.com/office/drawing/2014/main" id="{E711A3E6-F30B-41BA-8A7D-E4EAA0916BA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572597" y="5294588"/>
              <a:ext cx="49805" cy="251645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3/4 [3+]" hidden="1">
              <a:extLst>
                <a:ext uri="{FF2B5EF4-FFF2-40B4-BE49-F238E27FC236}">
                  <a16:creationId xmlns:a16="http://schemas.microsoft.com/office/drawing/2014/main" id="{682A0383-B5B1-44D7-884F-41B500143D21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572597" y="5294588"/>
              <a:ext cx="49805" cy="251645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0/4 [0+]" hidden="1">
              <a:extLst>
                <a:ext uri="{FF2B5EF4-FFF2-40B4-BE49-F238E27FC236}">
                  <a16:creationId xmlns:a16="http://schemas.microsoft.com/office/drawing/2014/main" id="{6A316CAE-49B3-4E3F-A0A2-BA654E3FE13F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647602" y="5247405"/>
              <a:ext cx="49805" cy="298828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1" name="4/4 [4+]" hidden="1">
              <a:extLst>
                <a:ext uri="{FF2B5EF4-FFF2-40B4-BE49-F238E27FC236}">
                  <a16:creationId xmlns:a16="http://schemas.microsoft.com/office/drawing/2014/main" id="{130A0084-EE1C-44AD-99FD-6046854CF5BF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647602" y="5247405"/>
              <a:ext cx="49805" cy="298828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42" name="Meter" hidden="1">
            <a:extLst>
              <a:ext uri="{FF2B5EF4-FFF2-40B4-BE49-F238E27FC236}">
                <a16:creationId xmlns:a16="http://schemas.microsoft.com/office/drawing/2014/main" id="{D34C105D-628A-4E20-BFD6-7AC35A75273B}"/>
              </a:ext>
            </a:extLst>
          </p:cNvPr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12361333" y="-174588"/>
            <a:ext cx="243840" cy="1494963"/>
            <a:chOff x="2903220" y="2620385"/>
            <a:chExt cx="182880" cy="1121221"/>
          </a:xfrm>
        </p:grpSpPr>
        <p:sp>
          <p:nvSpPr>
            <p:cNvPr id="43" name="Background [-1]" hidden="1">
              <a:extLst>
                <a:ext uri="{FF2B5EF4-FFF2-40B4-BE49-F238E27FC236}">
                  <a16:creationId xmlns:a16="http://schemas.microsoft.com/office/drawing/2014/main" id="{FBFA9527-7AAB-4831-958B-91BE7377749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2903220" y="2620385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4" name="Background [-1]" hidden="1">
              <a:extLst>
                <a:ext uri="{FF2B5EF4-FFF2-40B4-BE49-F238E27FC236}">
                  <a16:creationId xmlns:a16="http://schemas.microsoft.com/office/drawing/2014/main" id="{D5ECFC28-0801-4DAA-8756-5F0081A78E4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2903220" y="2709917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5" name="Background [-1]" hidden="1">
              <a:extLst>
                <a:ext uri="{FF2B5EF4-FFF2-40B4-BE49-F238E27FC236}">
                  <a16:creationId xmlns:a16="http://schemas.microsoft.com/office/drawing/2014/main" id="{DE629570-B09C-4496-AD67-6F2D4EFEECEF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2903220" y="2799452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6" name="Background [-1]" hidden="1">
              <a:extLst>
                <a:ext uri="{FF2B5EF4-FFF2-40B4-BE49-F238E27FC236}">
                  <a16:creationId xmlns:a16="http://schemas.microsoft.com/office/drawing/2014/main" id="{E5E3FCA8-3244-4C87-9392-9B23CF8604F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2903220" y="2888984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7" name="Background [-1]" hidden="1">
              <a:extLst>
                <a:ext uri="{FF2B5EF4-FFF2-40B4-BE49-F238E27FC236}">
                  <a16:creationId xmlns:a16="http://schemas.microsoft.com/office/drawing/2014/main" id="{3C9228D7-42E3-4446-B4D7-F5C02830C2A7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2903220" y="2978518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Background [-1]" hidden="1">
              <a:extLst>
                <a:ext uri="{FF2B5EF4-FFF2-40B4-BE49-F238E27FC236}">
                  <a16:creationId xmlns:a16="http://schemas.microsoft.com/office/drawing/2014/main" id="{CA8F7E2B-F31D-4515-AFBE-875879314891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2903220" y="3068050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Background [-1]" hidden="1">
              <a:extLst>
                <a:ext uri="{FF2B5EF4-FFF2-40B4-BE49-F238E27FC236}">
                  <a16:creationId xmlns:a16="http://schemas.microsoft.com/office/drawing/2014/main" id="{3A36071D-8A6B-417C-A3E7-9EF760D860A3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2903220" y="3157583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Background [-1]" hidden="1">
              <a:extLst>
                <a:ext uri="{FF2B5EF4-FFF2-40B4-BE49-F238E27FC236}">
                  <a16:creationId xmlns:a16="http://schemas.microsoft.com/office/drawing/2014/main" id="{0A6433E3-8FC6-47AC-A267-88632BA1CA0A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2903220" y="3247116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Background [-1]" hidden="1">
              <a:extLst>
                <a:ext uri="{FF2B5EF4-FFF2-40B4-BE49-F238E27FC236}">
                  <a16:creationId xmlns:a16="http://schemas.microsoft.com/office/drawing/2014/main" id="{A991EE62-FC67-4F80-8128-DB0E78637276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2903220" y="3336649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2" name="Background [-1]" hidden="1">
              <a:extLst>
                <a:ext uri="{FF2B5EF4-FFF2-40B4-BE49-F238E27FC236}">
                  <a16:creationId xmlns:a16="http://schemas.microsoft.com/office/drawing/2014/main" id="{9630A76D-4167-463F-B4F1-965FEB1CD85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2903220" y="3426180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3" name="Mark 0% [1+]" hidden="1">
              <a:extLst>
                <a:ext uri="{FF2B5EF4-FFF2-40B4-BE49-F238E27FC236}">
                  <a16:creationId xmlns:a16="http://schemas.microsoft.com/office/drawing/2014/main" id="{DBD63354-798F-4B38-9E08-EFE348D6BEF5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2903220" y="3426183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Mark 10% [1+]" hidden="1">
              <a:extLst>
                <a:ext uri="{FF2B5EF4-FFF2-40B4-BE49-F238E27FC236}">
                  <a16:creationId xmlns:a16="http://schemas.microsoft.com/office/drawing/2014/main" id="{326205A9-4AAB-4583-BA06-0448BBF773B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903220" y="3426183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Mark 20% [2+]" hidden="1">
              <a:extLst>
                <a:ext uri="{FF2B5EF4-FFF2-40B4-BE49-F238E27FC236}">
                  <a16:creationId xmlns:a16="http://schemas.microsoft.com/office/drawing/2014/main" id="{24B599CF-2FAA-4E22-BBC2-535F9C79F255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2903220" y="3336649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Mark 30% [3+]" hidden="1">
              <a:extLst>
                <a:ext uri="{FF2B5EF4-FFF2-40B4-BE49-F238E27FC236}">
                  <a16:creationId xmlns:a16="http://schemas.microsoft.com/office/drawing/2014/main" id="{15BFCC94-5B9D-47A0-B757-3345A35AFA2B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2903220" y="3247116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Mark 40% [4+]" hidden="1">
              <a:extLst>
                <a:ext uri="{FF2B5EF4-FFF2-40B4-BE49-F238E27FC236}">
                  <a16:creationId xmlns:a16="http://schemas.microsoft.com/office/drawing/2014/main" id="{CB287164-54AA-4558-BE06-F51CA622FB2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2903220" y="3157584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8" name="Mark 50% [5+]" hidden="1">
              <a:extLst>
                <a:ext uri="{FF2B5EF4-FFF2-40B4-BE49-F238E27FC236}">
                  <a16:creationId xmlns:a16="http://schemas.microsoft.com/office/drawing/2014/main" id="{E7041C5E-CA93-433A-A169-6EDF82AF0FB2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2903220" y="3068052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9" name="Mark 60% [6+]" hidden="1">
              <a:extLst>
                <a:ext uri="{FF2B5EF4-FFF2-40B4-BE49-F238E27FC236}">
                  <a16:creationId xmlns:a16="http://schemas.microsoft.com/office/drawing/2014/main" id="{4EE7BF39-D383-4B5E-BBBB-D2FC77FCF5D5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2903220" y="2978518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Mark 70% [7+]" hidden="1">
              <a:extLst>
                <a:ext uri="{FF2B5EF4-FFF2-40B4-BE49-F238E27FC236}">
                  <a16:creationId xmlns:a16="http://schemas.microsoft.com/office/drawing/2014/main" id="{D10E699A-CE76-4CBE-A271-FD039216F44E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2903220" y="2888983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Mark 80% [8+]" hidden="1">
              <a:extLst>
                <a:ext uri="{FF2B5EF4-FFF2-40B4-BE49-F238E27FC236}">
                  <a16:creationId xmlns:a16="http://schemas.microsoft.com/office/drawing/2014/main" id="{0CD63788-6D86-437B-943F-83FDA7C96D53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2903220" y="2799452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Mark 90% [9+]" hidden="1">
              <a:extLst>
                <a:ext uri="{FF2B5EF4-FFF2-40B4-BE49-F238E27FC236}">
                  <a16:creationId xmlns:a16="http://schemas.microsoft.com/office/drawing/2014/main" id="{D87C6189-C833-4F2E-AD0E-2F2A49299E17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>
            <a:xfrm>
              <a:off x="2903220" y="2709917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Mark 100% [10+]" hidden="1">
              <a:extLst>
                <a:ext uri="{FF2B5EF4-FFF2-40B4-BE49-F238E27FC236}">
                  <a16:creationId xmlns:a16="http://schemas.microsoft.com/office/drawing/2014/main" id="{DE380640-5DF2-48F0-90FF-624E9637B2CB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2903220" y="2620385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5241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6" r:id="rId1"/>
    <p:sldLayoutId id="2147485397" r:id="rId2"/>
    <p:sldLayoutId id="2147485398" r:id="rId3"/>
    <p:sldLayoutId id="2147485399" r:id="rId4"/>
    <p:sldLayoutId id="2147485400" r:id="rId5"/>
    <p:sldLayoutId id="2147485401" r:id="rId6"/>
    <p:sldLayoutId id="2147485402" r:id="rId7"/>
    <p:sldLayoutId id="2147485403" r:id="rId8"/>
    <p:sldLayoutId id="2147485404" r:id="rId9"/>
    <p:sldLayoutId id="2147485405" r:id="rId10"/>
    <p:sldLayoutId id="2147485406" r:id="rId11"/>
  </p:sldLayoutIdLst>
  <p:transition>
    <p:fade/>
  </p:transition>
  <p:hf hdr="0" dt="0"/>
  <p:txStyles>
    <p:titleStyle>
      <a:lvl1pPr algn="l" defTabSz="121914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4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52" marR="0" indent="-380981" algn="l" defTabSz="121914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28" marR="0" indent="-335984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04" marR="0" indent="-287986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4pPr>
      <a:lvl5pPr marL="2399880" marR="0" indent="-287986" algn="l" defTabSz="121914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4454C13B-D53F-4774-85A5-C68C60E9A6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7095376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Diapositive think-cell" r:id="rId46" imgW="416" imgH="416" progId="TCLayout.ActiveDocument.1">
                  <p:embed/>
                </p:oleObj>
              </mc:Choice>
              <mc:Fallback>
                <p:oleObj name="Diapositive think-cell" r:id="rId46" imgW="416" imgH="416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4454C13B-D53F-4774-85A5-C68C60E9A6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5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52" marR="0" lvl="1" indent="-380981" algn="l" defTabSz="121914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28" marR="0" lvl="2" indent="-335984" algn="l" defTabSz="121914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04" marR="0" lvl="3" indent="-287986" algn="l" defTabSz="121914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880" marR="0" lvl="4" indent="-287986" algn="l" defTabSz="121914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40" y="6333324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5" y="6333324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4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855" y="116632"/>
            <a:ext cx="715733" cy="633600"/>
          </a:xfrm>
          <a:prstGeom prst="rect">
            <a:avLst/>
          </a:prstGeom>
        </p:spPr>
      </p:pic>
      <p:grpSp>
        <p:nvGrpSpPr>
          <p:cNvPr id="33" name="Bars 4" hidden="1">
            <a:extLst>
              <a:ext uri="{FF2B5EF4-FFF2-40B4-BE49-F238E27FC236}">
                <a16:creationId xmlns:a16="http://schemas.microsoft.com/office/drawing/2014/main" id="{636A71B9-3230-45E8-A975-50F7E21BFEFB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12361333" y="0"/>
            <a:ext cx="366427" cy="398437"/>
            <a:chOff x="4422587" y="5247405"/>
            <a:chExt cx="274820" cy="298828"/>
          </a:xfrm>
        </p:grpSpPr>
        <p:sp>
          <p:nvSpPr>
            <p:cNvPr id="34" name="0/4 [0+]" hidden="1">
              <a:extLst>
                <a:ext uri="{FF2B5EF4-FFF2-40B4-BE49-F238E27FC236}">
                  <a16:creationId xmlns:a16="http://schemas.microsoft.com/office/drawing/2014/main" id="{D491C13A-2F6B-4A1D-8116-7FA95B8BF237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422587" y="5388955"/>
              <a:ext cx="49805" cy="157278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5" name="1/4 [1+]" hidden="1">
              <a:extLst>
                <a:ext uri="{FF2B5EF4-FFF2-40B4-BE49-F238E27FC236}">
                  <a16:creationId xmlns:a16="http://schemas.microsoft.com/office/drawing/2014/main" id="{37914C88-21E9-4216-BEB0-8D6894FADBFF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422587" y="5388955"/>
              <a:ext cx="49805" cy="157278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0/4 [0+]" hidden="1">
              <a:extLst>
                <a:ext uri="{FF2B5EF4-FFF2-40B4-BE49-F238E27FC236}">
                  <a16:creationId xmlns:a16="http://schemas.microsoft.com/office/drawing/2014/main" id="{918A94FD-4699-491B-938A-CE72DA44DA9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497592" y="5341772"/>
              <a:ext cx="49805" cy="204461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7" name="2/4 [2+]" hidden="1">
              <a:extLst>
                <a:ext uri="{FF2B5EF4-FFF2-40B4-BE49-F238E27FC236}">
                  <a16:creationId xmlns:a16="http://schemas.microsoft.com/office/drawing/2014/main" id="{7426F522-4056-49A1-9ADC-D13F8B50F170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497592" y="5341772"/>
              <a:ext cx="49805" cy="204461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8" name="0/4 [0+]" hidden="1">
              <a:extLst>
                <a:ext uri="{FF2B5EF4-FFF2-40B4-BE49-F238E27FC236}">
                  <a16:creationId xmlns:a16="http://schemas.microsoft.com/office/drawing/2014/main" id="{E711A3E6-F30B-41BA-8A7D-E4EAA0916BA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572597" y="5294588"/>
              <a:ext cx="49805" cy="251645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9" name="3/4 [3+]" hidden="1">
              <a:extLst>
                <a:ext uri="{FF2B5EF4-FFF2-40B4-BE49-F238E27FC236}">
                  <a16:creationId xmlns:a16="http://schemas.microsoft.com/office/drawing/2014/main" id="{682A0383-B5B1-44D7-884F-41B500143D21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572597" y="5294588"/>
              <a:ext cx="49805" cy="251645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0" name="0/4 [0+]" hidden="1">
              <a:extLst>
                <a:ext uri="{FF2B5EF4-FFF2-40B4-BE49-F238E27FC236}">
                  <a16:creationId xmlns:a16="http://schemas.microsoft.com/office/drawing/2014/main" id="{6A316CAE-49B3-4E3F-A0A2-BA654E3FE13F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647602" y="5247405"/>
              <a:ext cx="49805" cy="298828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41" name="4/4 [4+]" hidden="1">
              <a:extLst>
                <a:ext uri="{FF2B5EF4-FFF2-40B4-BE49-F238E27FC236}">
                  <a16:creationId xmlns:a16="http://schemas.microsoft.com/office/drawing/2014/main" id="{130A0084-EE1C-44AD-99FD-6046854CF5BF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647602" y="5247405"/>
              <a:ext cx="49805" cy="298828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pSp>
        <p:nvGrpSpPr>
          <p:cNvPr id="42" name="Meter" hidden="1">
            <a:extLst>
              <a:ext uri="{FF2B5EF4-FFF2-40B4-BE49-F238E27FC236}">
                <a16:creationId xmlns:a16="http://schemas.microsoft.com/office/drawing/2014/main" id="{D34C105D-628A-4E20-BFD6-7AC35A75273B}"/>
              </a:ext>
            </a:extLst>
          </p:cNvPr>
          <p:cNvGrpSpPr>
            <a:grpSpLocks noChangeAspect="1"/>
          </p:cNvGrpSpPr>
          <p:nvPr userDrawn="1">
            <p:custDataLst>
              <p:tags r:id="rId16"/>
            </p:custDataLst>
          </p:nvPr>
        </p:nvGrpSpPr>
        <p:grpSpPr>
          <a:xfrm>
            <a:off x="12361333" y="-174588"/>
            <a:ext cx="243840" cy="1494963"/>
            <a:chOff x="2903220" y="2620385"/>
            <a:chExt cx="182880" cy="1121221"/>
          </a:xfrm>
        </p:grpSpPr>
        <p:sp>
          <p:nvSpPr>
            <p:cNvPr id="43" name="Background [-1]" hidden="1">
              <a:extLst>
                <a:ext uri="{FF2B5EF4-FFF2-40B4-BE49-F238E27FC236}">
                  <a16:creationId xmlns:a16="http://schemas.microsoft.com/office/drawing/2014/main" id="{FBFA9527-7AAB-4831-958B-91BE7377749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2903220" y="2620385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4" name="Background [-1]" hidden="1">
              <a:extLst>
                <a:ext uri="{FF2B5EF4-FFF2-40B4-BE49-F238E27FC236}">
                  <a16:creationId xmlns:a16="http://schemas.microsoft.com/office/drawing/2014/main" id="{D5ECFC28-0801-4DAA-8756-5F0081A78E4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2903220" y="2709917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5" name="Background [-1]" hidden="1">
              <a:extLst>
                <a:ext uri="{FF2B5EF4-FFF2-40B4-BE49-F238E27FC236}">
                  <a16:creationId xmlns:a16="http://schemas.microsoft.com/office/drawing/2014/main" id="{DE629570-B09C-4496-AD67-6F2D4EFEECEF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2903220" y="2799452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6" name="Background [-1]" hidden="1">
              <a:extLst>
                <a:ext uri="{FF2B5EF4-FFF2-40B4-BE49-F238E27FC236}">
                  <a16:creationId xmlns:a16="http://schemas.microsoft.com/office/drawing/2014/main" id="{E5E3FCA8-3244-4C87-9392-9B23CF8604F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2903220" y="2888984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7" name="Background [-1]" hidden="1">
              <a:extLst>
                <a:ext uri="{FF2B5EF4-FFF2-40B4-BE49-F238E27FC236}">
                  <a16:creationId xmlns:a16="http://schemas.microsoft.com/office/drawing/2014/main" id="{3C9228D7-42E3-4446-B4D7-F5C02830C2A7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2903220" y="2978518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8" name="Background [-1]" hidden="1">
              <a:extLst>
                <a:ext uri="{FF2B5EF4-FFF2-40B4-BE49-F238E27FC236}">
                  <a16:creationId xmlns:a16="http://schemas.microsoft.com/office/drawing/2014/main" id="{CA8F7E2B-F31D-4515-AFBE-875879314891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2903220" y="3068050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49" name="Background [-1]" hidden="1">
              <a:extLst>
                <a:ext uri="{FF2B5EF4-FFF2-40B4-BE49-F238E27FC236}">
                  <a16:creationId xmlns:a16="http://schemas.microsoft.com/office/drawing/2014/main" id="{3A36071D-8A6B-417C-A3E7-9EF760D860A3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>
            <a:xfrm>
              <a:off x="2903220" y="3157583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0" name="Background [-1]" hidden="1">
              <a:extLst>
                <a:ext uri="{FF2B5EF4-FFF2-40B4-BE49-F238E27FC236}">
                  <a16:creationId xmlns:a16="http://schemas.microsoft.com/office/drawing/2014/main" id="{0A6433E3-8FC6-47AC-A267-88632BA1CA0A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>
            <a:xfrm>
              <a:off x="2903220" y="3247116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1" name="Background [-1]" hidden="1">
              <a:extLst>
                <a:ext uri="{FF2B5EF4-FFF2-40B4-BE49-F238E27FC236}">
                  <a16:creationId xmlns:a16="http://schemas.microsoft.com/office/drawing/2014/main" id="{A991EE62-FC67-4F80-8128-DB0E78637276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2903220" y="3336649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2" name="Background [-1]" hidden="1">
              <a:extLst>
                <a:ext uri="{FF2B5EF4-FFF2-40B4-BE49-F238E27FC236}">
                  <a16:creationId xmlns:a16="http://schemas.microsoft.com/office/drawing/2014/main" id="{9630A76D-4167-463F-B4F1-965FEB1CD85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2903220" y="3426180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3" name="Mark 0% [1+]" hidden="1">
              <a:extLst>
                <a:ext uri="{FF2B5EF4-FFF2-40B4-BE49-F238E27FC236}">
                  <a16:creationId xmlns:a16="http://schemas.microsoft.com/office/drawing/2014/main" id="{DBD63354-798F-4B38-9E08-EFE348D6BEF5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2903220" y="3426183"/>
              <a:ext cx="182880" cy="315423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4" name="Mark 10% [1+]" hidden="1">
              <a:extLst>
                <a:ext uri="{FF2B5EF4-FFF2-40B4-BE49-F238E27FC236}">
                  <a16:creationId xmlns:a16="http://schemas.microsoft.com/office/drawing/2014/main" id="{326205A9-4AAB-4583-BA06-0448BBF773B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903220" y="3426183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5" name="Mark 20% [2+]" hidden="1">
              <a:extLst>
                <a:ext uri="{FF2B5EF4-FFF2-40B4-BE49-F238E27FC236}">
                  <a16:creationId xmlns:a16="http://schemas.microsoft.com/office/drawing/2014/main" id="{24B599CF-2FAA-4E22-BBC2-535F9C79F255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2903220" y="3336649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6" name="Mark 30% [3+]" hidden="1">
              <a:extLst>
                <a:ext uri="{FF2B5EF4-FFF2-40B4-BE49-F238E27FC236}">
                  <a16:creationId xmlns:a16="http://schemas.microsoft.com/office/drawing/2014/main" id="{15BFCC94-5B9D-47A0-B757-3345A35AFA2B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2903220" y="3247116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7" name="Mark 40% [4+]" hidden="1">
              <a:extLst>
                <a:ext uri="{FF2B5EF4-FFF2-40B4-BE49-F238E27FC236}">
                  <a16:creationId xmlns:a16="http://schemas.microsoft.com/office/drawing/2014/main" id="{CB287164-54AA-4558-BE06-F51CA622FB2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2903220" y="3157584"/>
              <a:ext cx="182880" cy="315423"/>
            </a:xfrm>
            <a:prstGeom prst="rect">
              <a:avLst/>
            </a:prstGeom>
            <a:solidFill>
              <a:schemeClr val="bg2"/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8" name="Mark 50% [5+]" hidden="1">
              <a:extLst>
                <a:ext uri="{FF2B5EF4-FFF2-40B4-BE49-F238E27FC236}">
                  <a16:creationId xmlns:a16="http://schemas.microsoft.com/office/drawing/2014/main" id="{E7041C5E-CA93-433A-A169-6EDF82AF0FB2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2903220" y="3068052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59" name="Mark 60% [6+]" hidden="1">
              <a:extLst>
                <a:ext uri="{FF2B5EF4-FFF2-40B4-BE49-F238E27FC236}">
                  <a16:creationId xmlns:a16="http://schemas.microsoft.com/office/drawing/2014/main" id="{4EE7BF39-D383-4B5E-BBBB-D2FC77FCF5D5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2903220" y="2978518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0" name="Mark 70% [7+]" hidden="1">
              <a:extLst>
                <a:ext uri="{FF2B5EF4-FFF2-40B4-BE49-F238E27FC236}">
                  <a16:creationId xmlns:a16="http://schemas.microsoft.com/office/drawing/2014/main" id="{D10E699A-CE76-4CBE-A271-FD039216F44E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2903220" y="2888983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1" name="Mark 80% [8+]" hidden="1">
              <a:extLst>
                <a:ext uri="{FF2B5EF4-FFF2-40B4-BE49-F238E27FC236}">
                  <a16:creationId xmlns:a16="http://schemas.microsoft.com/office/drawing/2014/main" id="{0CD63788-6D86-437B-943F-83FDA7C96D53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2903220" y="2799452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2" name="Mark 90% [9+]" hidden="1">
              <a:extLst>
                <a:ext uri="{FF2B5EF4-FFF2-40B4-BE49-F238E27FC236}">
                  <a16:creationId xmlns:a16="http://schemas.microsoft.com/office/drawing/2014/main" id="{D87C6189-C833-4F2E-AD0E-2F2A49299E17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>
            <a:xfrm>
              <a:off x="2903220" y="2709917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  <p:sp>
          <p:nvSpPr>
            <p:cNvPr id="63" name="Mark 100% [10+]" hidden="1">
              <a:extLst>
                <a:ext uri="{FF2B5EF4-FFF2-40B4-BE49-F238E27FC236}">
                  <a16:creationId xmlns:a16="http://schemas.microsoft.com/office/drawing/2014/main" id="{DE380640-5DF2-48F0-90FF-624E9637B2CB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2903220" y="2620385"/>
              <a:ext cx="182880" cy="315423"/>
            </a:xfrm>
            <a:prstGeom prst="rect">
              <a:avLst/>
            </a:prstGeom>
            <a:solidFill>
              <a:schemeClr val="bg2">
                <a:lumMod val="100000"/>
              </a:schemeClr>
            </a:solidFill>
            <a:ln w="19050">
              <a:noFill/>
            </a:ln>
          </p:spPr>
          <p:txBody>
            <a:bodyPr wrap="square" rtlCol="0" anchor="ctr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2133">
                <a:latin typeface="+mn-lt"/>
                <a:ea typeface="Open Sans" pitchFamily="34" charset="0"/>
                <a:cs typeface="Open Sans" pitchFamily="34" charset="0"/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264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3" r:id="rId1"/>
    <p:sldLayoutId id="2147485414" r:id="rId2"/>
    <p:sldLayoutId id="2147485415" r:id="rId3"/>
    <p:sldLayoutId id="2147485416" r:id="rId4"/>
    <p:sldLayoutId id="2147485417" r:id="rId5"/>
    <p:sldLayoutId id="2147485418" r:id="rId6"/>
    <p:sldLayoutId id="2147485419" r:id="rId7"/>
    <p:sldLayoutId id="2147485420" r:id="rId8"/>
    <p:sldLayoutId id="2147485421" r:id="rId9"/>
    <p:sldLayoutId id="2147485422" r:id="rId10"/>
    <p:sldLayoutId id="2147485423" r:id="rId11"/>
  </p:sldLayoutIdLst>
  <p:transition>
    <p:fade/>
  </p:transition>
  <p:hf hdr="0" dt="0"/>
  <p:txStyles>
    <p:titleStyle>
      <a:lvl1pPr algn="l" defTabSz="121914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4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52" marR="0" indent="-380981" algn="l" defTabSz="121914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28" marR="0" indent="-335984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04" marR="0" indent="-287986" algn="l" defTabSz="121914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4pPr>
      <a:lvl5pPr marL="2399880" marR="0" indent="-287986" algn="l" defTabSz="121914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6848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D774485D-EDF5-124C-F6D8-0992A1FACFF9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21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6" r:id="rId1"/>
    <p:sldLayoutId id="2147484617" r:id="rId2"/>
    <p:sldLayoutId id="2147484618" r:id="rId3"/>
    <p:sldLayoutId id="2147484619" r:id="rId4"/>
    <p:sldLayoutId id="2147484620" r:id="rId5"/>
    <p:sldLayoutId id="2147484621" r:id="rId6"/>
    <p:sldLayoutId id="2147484622" r:id="rId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47793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25" imgW="592" imgH="591" progId="TCLayout.ActiveDocument.1">
                  <p:embed/>
                </p:oleObj>
              </mc:Choice>
              <mc:Fallback>
                <p:oleObj name="think-cell Slide" r:id="rId2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/>
            </a:br>
            <a:r>
              <a:rPr lang="fr-FR" sz="1400" b="0"/>
              <a:t>Unité de me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63473-8964-4CE8-A83C-353CAC0AED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61021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736F861F-6025-4721-BF84-6723C00693E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554770" y="4322824"/>
            <a:chExt cx="1021849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D20C859A-A72C-43E9-99B0-07BD62A84A26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A18B6B67-ED48-4640-BB14-1972A20A6F56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5ECCEE31-DCE9-4124-80A7-E4E41B48D5D0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1F81EE4C-D04D-4881-8C93-A49A7962DB10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635E5E12-A078-4E70-BFB9-2D2EA8A79B8D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6F544BCA-86F4-4073-A092-AD41E93D912C}"/>
                </a:ext>
              </a:extLst>
            </p:cNvPr>
            <p:cNvSpPr txBox="1"/>
            <p:nvPr/>
          </p:nvSpPr>
          <p:spPr>
            <a:xfrm>
              <a:off x="1088091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2ED3E8BC-EA83-408D-AC39-5425D7DE88DE}"/>
                </a:ext>
              </a:extLst>
            </p:cNvPr>
            <p:cNvSpPr txBox="1"/>
            <p:nvPr/>
          </p:nvSpPr>
          <p:spPr>
            <a:xfrm>
              <a:off x="1088091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7808C9E7-7BE4-4136-BADE-46AB57704EA0}"/>
                </a:ext>
              </a:extLst>
            </p:cNvPr>
            <p:cNvSpPr txBox="1"/>
            <p:nvPr/>
          </p:nvSpPr>
          <p:spPr>
            <a:xfrm>
              <a:off x="1088091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98BD0667-BF41-4AFE-8932-643C964AAFF6}"/>
                </a:ext>
              </a:extLst>
            </p:cNvPr>
            <p:cNvSpPr txBox="1"/>
            <p:nvPr/>
          </p:nvSpPr>
          <p:spPr>
            <a:xfrm>
              <a:off x="1088091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FC9BC109-96FD-43E0-A5FD-7C073808EA30}"/>
                </a:ext>
              </a:extLst>
            </p:cNvPr>
            <p:cNvSpPr txBox="1"/>
            <p:nvPr/>
          </p:nvSpPr>
          <p:spPr>
            <a:xfrm>
              <a:off x="1088091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7CE2A94-5E8B-4A4C-9C5D-B184ADF15F13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8EF1824B-FD5C-4F32-8808-C7FDA283C8DE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C8CC1DAA-C4FF-4F17-88EA-0863AA0B859C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B586EC0A-F331-47CD-8106-95A46D46F7A3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7012112C-0D42-439A-BD2D-85192A86A17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400" baseline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0EC28028-1420-4325-B898-CCAC7CA966F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A78FCBBF-AF28-4CBD-AF32-6DF45137E09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7CD0DECA-12CF-4C33-8F14-510AFE2C0C4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16535" y="2630582"/>
            <a:chExt cx="1048335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31EFC7CE-4974-4D5F-A242-F262A122E1C8}"/>
                </a:ext>
              </a:extLst>
            </p:cNvPr>
            <p:cNvSpPr txBox="1"/>
            <p:nvPr/>
          </p:nvSpPr>
          <p:spPr>
            <a:xfrm>
              <a:off x="8069167" y="26379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7B01262E-DA27-4F05-BF2F-F14292D68A30}"/>
                </a:ext>
              </a:extLst>
            </p:cNvPr>
            <p:cNvSpPr txBox="1"/>
            <p:nvPr/>
          </p:nvSpPr>
          <p:spPr>
            <a:xfrm>
              <a:off x="8069167" y="301340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7F517185-D4C3-4A93-8C99-8CABE1806C6D}"/>
                </a:ext>
              </a:extLst>
            </p:cNvPr>
            <p:cNvSpPr txBox="1"/>
            <p:nvPr/>
          </p:nvSpPr>
          <p:spPr>
            <a:xfrm>
              <a:off x="8069167" y="3388859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F7E22D06-96B6-4AFF-9BD1-CA453CA10013}"/>
                </a:ext>
              </a:extLst>
            </p:cNvPr>
            <p:cNvSpPr txBox="1"/>
            <p:nvPr/>
          </p:nvSpPr>
          <p:spPr>
            <a:xfrm>
              <a:off x="8069167" y="3764318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06FB02E5-3A8A-497F-AB1D-7DBE98894F0E}"/>
                </a:ext>
              </a:extLst>
            </p:cNvPr>
            <p:cNvSpPr txBox="1"/>
            <p:nvPr/>
          </p:nvSpPr>
          <p:spPr>
            <a:xfrm>
              <a:off x="8069167" y="4139779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7F7D8AA2-425F-40E4-B845-860DD8B65F1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231BC44-0FF7-4382-99CF-584B6EF788E6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7AA2DB49-B28E-4C69-9ACF-3F32B5C76AB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B23C5B83-B488-47E8-BDA2-7EE315A3CD62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2E77522A-1BD0-41CB-95B7-F736BC744F7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D908B1A1-7B12-4C4C-B556-27639D35055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996D51DB-9854-49B7-9AB1-79808D4DE30D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0AECDB5-FF4A-4C63-9285-C6BE1F5FE589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489A6A98-4DF7-4581-BF38-E1B8F175166A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1C5D4EB9-A346-4111-BFF7-028B60ADECBF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2DD4642D-E45A-4349-9279-D16A982A5841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A9E88730-93A7-43C6-836B-D461DC1DEAC2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83ECA2FC-1F06-40CE-B0F0-2F726C232869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89029954-0E89-4549-9BFA-63A426131416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8DBB11BD-5E50-4D8C-B64A-05676A2608DB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907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5" r:id="rId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6100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Diapositive think-cell" r:id="rId34" imgW="413" imgH="416" progId="TCLayout.ActiveDocument.1">
                  <p:embed/>
                </p:oleObj>
              </mc:Choice>
              <mc:Fallback>
                <p:oleObj name="Diapositive think-cell" r:id="rId3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97C2540-0A3A-4A88-A6FC-7A472E11E5C5}"/>
              </a:ext>
            </a:extLst>
          </p:cNvPr>
          <p:cNvSpPr txBox="1"/>
          <p:nvPr userDrawn="1"/>
        </p:nvSpPr>
        <p:spPr>
          <a:xfrm>
            <a:off x="152399" y="6439984"/>
            <a:ext cx="5333997" cy="33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A92FCE-1E33-49EA-BAB2-54F82A6D84D7}"/>
              </a:ext>
            </a:extLst>
          </p:cNvPr>
          <p:cNvSpPr txBox="1"/>
          <p:nvPr userDrawn="1"/>
        </p:nvSpPr>
        <p:spPr>
          <a:xfrm>
            <a:off x="11637263" y="6439984"/>
            <a:ext cx="389278" cy="3306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DC653032-14FE-19F7-FD9D-4BBDF014F521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10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2" r:id="rId1"/>
    <p:sldLayoutId id="2147485013" r:id="rId2"/>
    <p:sldLayoutId id="2147485014" r:id="rId3"/>
    <p:sldLayoutId id="2147485015" r:id="rId4"/>
    <p:sldLayoutId id="2147485016" r:id="rId5"/>
    <p:sldLayoutId id="2147485017" r:id="rId6"/>
    <p:sldLayoutId id="2147485018" r:id="rId7"/>
    <p:sldLayoutId id="2147485019" r:id="rId8"/>
    <p:sldLayoutId id="2147485020" r:id="rId9"/>
    <p:sldLayoutId id="2147485021" r:id="rId10"/>
    <p:sldLayoutId id="2147485022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31" imgW="413" imgH="416" progId="TCLayout.ActiveDocument.1">
                  <p:embed/>
                </p:oleObj>
              </mc:Choice>
              <mc:Fallback>
                <p:oleObj name="think-cell Slide" r:id="rId3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5A1B6D21-0D54-A702-0441-87B6230DF263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944" y="155276"/>
            <a:ext cx="3414056" cy="9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94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4" r:id="rId1"/>
    <p:sldLayoutId id="2147485025" r:id="rId2"/>
    <p:sldLayoutId id="2147485026" r:id="rId3"/>
    <p:sldLayoutId id="2147485027" r:id="rId4"/>
    <p:sldLayoutId id="2147485028" r:id="rId5"/>
    <p:sldLayoutId id="2147485029" r:id="rId6"/>
    <p:sldLayoutId id="2147485030" r:id="rId7"/>
    <p:sldLayoutId id="2147485031" r:id="rId8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49996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1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/>
              <a:t>Titre</a:t>
            </a:r>
            <a:br>
              <a:rPr lang="fr-FR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8" y="3265262"/>
            <a:ext cx="1419346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29" y="1375451"/>
            <a:ext cx="1048335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15" y="4381500"/>
            <a:ext cx="1021849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pic>
        <p:nvPicPr>
          <p:cNvPr id="6" name="Picture 2">
            <a:extLst>
              <a:ext uri="{FF2B5EF4-FFF2-40B4-BE49-F238E27FC236}">
                <a16:creationId xmlns:a16="http://schemas.microsoft.com/office/drawing/2014/main" id="{60DCD6F2-E11F-CA92-0181-F1ED9E57018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28"/>
          <a:stretch/>
        </p:blipFill>
        <p:spPr bwMode="auto">
          <a:xfrm>
            <a:off x="9471803" y="205507"/>
            <a:ext cx="1840721" cy="652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6C3575B-12A5-5AFA-DA43-22EA6EA3E9E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1294"/>
          <a:stretch/>
        </p:blipFill>
        <p:spPr bwMode="auto">
          <a:xfrm>
            <a:off x="11614925" y="0"/>
            <a:ext cx="577073" cy="859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717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1" r:id="rId1"/>
    <p:sldLayoutId id="2147485202" r:id="rId2"/>
    <p:sldLayoutId id="2147485203" r:id="rId3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Démarche d’audit des critères ENS 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854" y="116632"/>
            <a:ext cx="715733" cy="633600"/>
          </a:xfrm>
          <a:prstGeom prst="rect">
            <a:avLst/>
          </a:prstGeom>
        </p:spPr>
      </p:pic>
      <p:grpSp>
        <p:nvGrpSpPr>
          <p:cNvPr id="10" name="Harvey 4" hidden="1">
            <a:extLst>
              <a:ext uri="{FF2B5EF4-FFF2-40B4-BE49-F238E27FC236}">
                <a16:creationId xmlns:a16="http://schemas.microsoft.com/office/drawing/2014/main" id="{B003164A-DD14-4399-896B-3F1C077CD84F}"/>
              </a:ext>
            </a:extLst>
          </p:cNvPr>
          <p:cNvGrpSpPr>
            <a:grpSpLocks/>
          </p:cNvGrpSpPr>
          <p:nvPr userDrawn="1">
            <p:custDataLst>
              <p:tags r:id="rId15"/>
            </p:custDataLst>
          </p:nvPr>
        </p:nvGrpSpPr>
        <p:grpSpPr>
          <a:xfrm>
            <a:off x="12361333" y="0"/>
            <a:ext cx="390144" cy="390144"/>
            <a:chOff x="0" y="0"/>
            <a:chExt cx="914400" cy="914400"/>
          </a:xfrm>
          <a:solidFill>
            <a:schemeClr val="tx1"/>
          </a:solidFill>
        </p:grpSpPr>
        <p:sp>
          <p:nvSpPr>
            <p:cNvPr id="11" name="Harvey 0/4 [0]" hidden="1">
              <a:extLst>
                <a:ext uri="{FF2B5EF4-FFF2-40B4-BE49-F238E27FC236}">
                  <a16:creationId xmlns:a16="http://schemas.microsoft.com/office/drawing/2014/main" id="{67B5ADC3-318C-4163-B8A2-ABE0CF3C8737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12" name="Harvey 1/4 [1]" hidden="1">
              <a:extLst>
                <a:ext uri="{FF2B5EF4-FFF2-40B4-BE49-F238E27FC236}">
                  <a16:creationId xmlns:a16="http://schemas.microsoft.com/office/drawing/2014/main" id="{C43909FF-EC93-4ED2-802B-A779ED42165D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13" name="Harvey 2/4 [2]" hidden="1">
              <a:extLst>
                <a:ext uri="{FF2B5EF4-FFF2-40B4-BE49-F238E27FC236}">
                  <a16:creationId xmlns:a16="http://schemas.microsoft.com/office/drawing/2014/main" id="{C6DEA4BA-ECFF-461B-940E-7CDCEFF63587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14" name="Harvey 3/4 [3]" hidden="1">
              <a:extLst>
                <a:ext uri="{FF2B5EF4-FFF2-40B4-BE49-F238E27FC236}">
                  <a16:creationId xmlns:a16="http://schemas.microsoft.com/office/drawing/2014/main" id="{EF0B1418-10CC-49E8-A82F-5F19149E2CB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15" name="Harvey 4/4 [4]" hidden="1">
              <a:extLst>
                <a:ext uri="{FF2B5EF4-FFF2-40B4-BE49-F238E27FC236}">
                  <a16:creationId xmlns:a16="http://schemas.microsoft.com/office/drawing/2014/main" id="{6EB99942-0720-4D0F-B1EC-4F468FA18BD6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5410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7" r:id="rId1"/>
    <p:sldLayoutId id="2147485318" r:id="rId2"/>
    <p:sldLayoutId id="2147485319" r:id="rId3"/>
    <p:sldLayoutId id="2147485320" r:id="rId4"/>
    <p:sldLayoutId id="2147485321" r:id="rId5"/>
    <p:sldLayoutId id="2147485322" r:id="rId6"/>
    <p:sldLayoutId id="2147485323" r:id="rId7"/>
    <p:sldLayoutId id="2147485324" r:id="rId8"/>
    <p:sldLayoutId id="2147485325" r:id="rId9"/>
    <p:sldLayoutId id="2147485326" r:id="rId10"/>
    <p:sldLayoutId id="2147485327" r:id="rId11"/>
    <p:sldLayoutId id="2147485329" r:id="rId12"/>
    <p:sldLayoutId id="2147485331" r:id="rId13"/>
  </p:sldLayoutIdLst>
  <p:transition>
    <p:fade/>
  </p:transition>
  <p:hf hd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Diapositive think-cell" r:id="rId32" imgW="413" imgH="416" progId="TCLayout.ActiveDocument.1">
                  <p:embed/>
                </p:oleObj>
              </mc:Choice>
              <mc:Fallback>
                <p:oleObj name="Diapositive think-cell" r:id="rId3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 sz="800"/>
              <a:t>Note de bas de pag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49996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fr-FR" sz="14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fr-FR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545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987739" y="2170801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1600"/>
              <a:t>Titre</a:t>
            </a:r>
            <a:br>
              <a:rPr lang="fr-FR" sz="1600" noProof="0"/>
            </a:br>
            <a:r>
              <a:rPr lang="fr-FR" sz="1400" b="0"/>
              <a:t>Unité de me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0801"/>
            <a:ext cx="285949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4"/>
            <a:r>
              <a:rPr lang="fr-FR" err="1"/>
              <a:t>Fif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601D3A5-B35B-495F-8296-6D6119F7096A}"/>
              </a:ext>
            </a:extLst>
          </p:cNvPr>
          <p:cNvGrpSpPr/>
          <p:nvPr userDrawn="1"/>
        </p:nvGrpSpPr>
        <p:grpSpPr>
          <a:xfrm>
            <a:off x="10217919" y="3265258"/>
            <a:ext cx="1419346" cy="958286"/>
            <a:chOff x="10162879" y="3243771"/>
            <a:chExt cx="1419346" cy="958287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7442E364-E3E7-47C3-AC0A-D8BE37BCCA41}"/>
                </a:ext>
              </a:extLst>
            </p:cNvPr>
            <p:cNvSpPr txBox="1"/>
            <p:nvPr/>
          </p:nvSpPr>
          <p:spPr>
            <a:xfrm>
              <a:off x="10886522" y="324377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77B4AEF8-74EC-4396-90A0-318154DBC4F2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04B620C-FC3F-46D8-B426-9264851B9404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1A51577-C3C5-4683-8E1A-9B9635F7235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920B4E17-0D15-49FA-A0C2-A3F4BF55353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ED98188-3EAB-426C-BABF-B68380BB21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fr-FR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51C62E2-DA07-47E8-B442-9539C7686652}"/>
              </a:ext>
            </a:extLst>
          </p:cNvPr>
          <p:cNvGrpSpPr/>
          <p:nvPr userDrawn="1"/>
        </p:nvGrpSpPr>
        <p:grpSpPr>
          <a:xfrm>
            <a:off x="10588930" y="1375452"/>
            <a:ext cx="1048335" cy="1731858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AFFEF2B-0F44-4456-853B-F147E4202DBE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058B22D6-7DA8-4C3F-B314-0304A2188E68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6FFC640-14FA-4A3B-8194-0C33709C90C8}"/>
                </a:ext>
              </a:extLst>
            </p:cNvPr>
            <p:cNvSpPr txBox="1"/>
            <p:nvPr/>
          </p:nvSpPr>
          <p:spPr>
            <a:xfrm>
              <a:off x="8076312" y="246073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69CE0E2E-5B30-4788-900E-0E25D6571461}"/>
                </a:ext>
              </a:extLst>
            </p:cNvPr>
            <p:cNvSpPr txBox="1"/>
            <p:nvPr/>
          </p:nvSpPr>
          <p:spPr>
            <a:xfrm>
              <a:off x="8076312" y="283619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9B25F0A-27C1-4B3A-A89C-E8E8F56218BB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1961964E-1FB4-485D-9542-BEB147827174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0178260-240B-462D-A298-EA7B1340337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8D01E0EB-A073-4F11-8F69-7F1A1C9287E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F50EC4A0-33AA-4257-86B9-81C2A7FAEE6F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A96E169-ECA2-43D1-A782-3877B279039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2C656FA0-2825-490E-A82A-326B0FB4C4F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7E285670-1BC0-4642-B57E-EB0CB17C486C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369B09DB-DD0A-4D94-9536-92EE8E41A3D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4E98305-9A96-41A3-B5E7-4B1F2264A34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1EAAEE7-495E-42A8-8E78-7A6934FF1240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6CED419-F759-4D06-99F1-D889656E39D4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070096CE-4B00-4906-B04B-4AE4F9D04227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EF0879F-088E-4B5D-985B-D389177DBCA9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CA7A0C3-D54B-4D3E-BBD3-746F3402749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F31A8BE-050B-4590-8632-5DB8CCC19AD6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0ACDF7ED-1E60-4851-B55D-8DE74293D81B}"/>
              </a:ext>
            </a:extLst>
          </p:cNvPr>
          <p:cNvGrpSpPr/>
          <p:nvPr userDrawn="1"/>
        </p:nvGrpSpPr>
        <p:grpSpPr>
          <a:xfrm>
            <a:off x="10615430" y="4381498"/>
            <a:ext cx="1021852" cy="1717281"/>
            <a:chOff x="10652400" y="4322823"/>
            <a:chExt cx="1021850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49F1FFB3-E280-4DFD-9AFA-077CE7660B8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F20F4695-17CB-4F18-B557-632ADA2364E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D897157-A874-40A4-AA19-3690BDEDCEC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65D565C-C847-48D7-A584-AF9494E5BA2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31F0906-9BF9-4C63-85A2-B50C1D6660F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05C9F77-CFB1-4400-8122-207519A81A52}"/>
                </a:ext>
              </a:extLst>
            </p:cNvPr>
            <p:cNvSpPr txBox="1"/>
            <p:nvPr/>
          </p:nvSpPr>
          <p:spPr>
            <a:xfrm>
              <a:off x="10978546" y="4322823"/>
              <a:ext cx="69570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F0B71DE-B29A-491C-8408-F6B17F1354E9}"/>
                </a:ext>
              </a:extLst>
            </p:cNvPr>
            <p:cNvSpPr txBox="1"/>
            <p:nvPr/>
          </p:nvSpPr>
          <p:spPr>
            <a:xfrm>
              <a:off x="10978548" y="4702322"/>
              <a:ext cx="69570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FA84222F-6997-4DC5-B578-DD7676BF7EB2}"/>
                </a:ext>
              </a:extLst>
            </p:cNvPr>
            <p:cNvSpPr txBox="1"/>
            <p:nvPr/>
          </p:nvSpPr>
          <p:spPr>
            <a:xfrm>
              <a:off x="10978546" y="5081819"/>
              <a:ext cx="69570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E61CFFF4-3D2B-4C5F-81A3-59CAF30D5DFB}"/>
                </a:ext>
              </a:extLst>
            </p:cNvPr>
            <p:cNvSpPr txBox="1"/>
            <p:nvPr/>
          </p:nvSpPr>
          <p:spPr>
            <a:xfrm>
              <a:off x="10978546" y="5453241"/>
              <a:ext cx="69570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97154A9B-9A9D-4AFB-85EB-12DC81C30D33}"/>
                </a:ext>
              </a:extLst>
            </p:cNvPr>
            <p:cNvSpPr txBox="1"/>
            <p:nvPr/>
          </p:nvSpPr>
          <p:spPr>
            <a:xfrm>
              <a:off x="10978545" y="5824661"/>
              <a:ext cx="69570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400"/>
                <a:t>Légende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A97C2540-0A3A-4A88-A6FC-7A472E11E5C5}"/>
              </a:ext>
            </a:extLst>
          </p:cNvPr>
          <p:cNvSpPr txBox="1"/>
          <p:nvPr userDrawn="1"/>
        </p:nvSpPr>
        <p:spPr>
          <a:xfrm>
            <a:off x="152400" y="6439985"/>
            <a:ext cx="5333997" cy="3306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A92FCE-1E33-49EA-BAB2-54F82A6D84D7}"/>
              </a:ext>
            </a:extLst>
          </p:cNvPr>
          <p:cNvSpPr txBox="1"/>
          <p:nvPr userDrawn="1"/>
        </p:nvSpPr>
        <p:spPr>
          <a:xfrm>
            <a:off x="11637263" y="6439984"/>
            <a:ext cx="389279" cy="3306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fr-FR" sz="1600"/>
          </a:p>
        </p:txBody>
      </p:sp>
    </p:spTree>
    <p:extLst>
      <p:ext uri="{BB962C8B-B14F-4D97-AF65-F5344CB8AC3E}">
        <p14:creationId xmlns:p14="http://schemas.microsoft.com/office/powerpoint/2010/main" val="3504445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3" r:id="rId1"/>
    <p:sldLayoutId id="2147485334" r:id="rId2"/>
    <p:sldLayoutId id="2147485335" r:id="rId3"/>
    <p:sldLayoutId id="2147485336" r:id="rId4"/>
    <p:sldLayoutId id="2147485337" r:id="rId5"/>
    <p:sldLayoutId id="2147485338" r:id="rId6"/>
    <p:sldLayoutId id="2147485339" r:id="rId7"/>
    <p:sldLayoutId id="2147485340" r:id="rId8"/>
    <p:sldLayoutId id="2147485341" r:id="rId9"/>
  </p:sldLayoutIdLst>
  <p:hf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fr-FR" sz="2500" b="1" kern="1200" spc="0" baseline="0" dirty="0">
          <a:ln w="6350" cap="flat">
            <a:noFill/>
            <a:miter lim="800000"/>
          </a:ln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75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95000"/>
        <a:buFont typeface="Arial" panose="020B0604020202020204" pitchFamily="34" charset="0"/>
        <a:buChar char="►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51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26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02" indent="-18287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5ACBF0"/>
          </p15:clr>
        </p15:guide>
        <p15:guide id="3" orient="horz" pos="2934">
          <p15:clr>
            <a:srgbClr val="5ACBF0"/>
          </p15:clr>
        </p15:guide>
        <p15:guide id="4" orient="horz" pos="806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304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marL="959976" marR="0" lvl="1" indent="-380990" algn="l" defTabSz="121917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439964" marR="0" lvl="2" indent="-335992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919952" marR="0" lvl="3" indent="-287993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133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2399940" marR="0" lvl="4" indent="-287993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867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43339" y="6333323"/>
            <a:ext cx="38311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1067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94853" y="932723"/>
            <a:ext cx="1180440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>
            <a:extLst>
              <a:ext uri="{FF2B5EF4-FFF2-40B4-BE49-F238E27FC236}">
                <a16:creationId xmlns:a16="http://schemas.microsoft.com/office/drawing/2014/main" id="{F0B37F00-049A-469B-7FD3-D2D6B140B95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164703"/>
            <a:ext cx="384043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781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5" r:id="rId1"/>
    <p:sldLayoutId id="2147485386" r:id="rId2"/>
    <p:sldLayoutId id="2147485387" r:id="rId3"/>
    <p:sldLayoutId id="2147485388" r:id="rId4"/>
    <p:sldLayoutId id="2147485389" r:id="rId5"/>
    <p:sldLayoutId id="2147485390" r:id="rId6"/>
    <p:sldLayoutId id="2147485391" r:id="rId7"/>
    <p:sldLayoutId id="2147485392" r:id="rId8"/>
    <p:sldLayoutId id="2147485393" r:id="rId9"/>
    <p:sldLayoutId id="2147485394" r:id="rId10"/>
  </p:sldLayoutIdLst>
  <p:transition>
    <p:fade/>
  </p:transition>
  <p:hf hdr="0" ftr="0" dt="0"/>
  <p:txStyles>
    <p:titleStyle>
      <a:lvl1pPr algn="l" defTabSz="1219170" rtl="0" eaLnBrk="1" latinLnBrk="0" hangingPunct="1">
        <a:lnSpc>
          <a:spcPts val="2933"/>
        </a:lnSpc>
        <a:spcBef>
          <a:spcPct val="0"/>
        </a:spcBef>
        <a:buNone/>
        <a:defRPr sz="2667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24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32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959976" marR="0" indent="-380990" algn="l" defTabSz="121917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24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439964" marR="0" indent="-335992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2133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919952" marR="0" indent="-287993" algn="l" defTabSz="1219170" rtl="0" eaLnBrk="1" fontAlgn="auto" latinLnBrk="0" hangingPunct="1">
        <a:lnSpc>
          <a:spcPct val="100000"/>
        </a:lnSpc>
        <a:spcBef>
          <a:spcPts val="533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867" kern="1200">
          <a:solidFill>
            <a:srgbClr val="575757"/>
          </a:solidFill>
          <a:latin typeface="+mn-lt"/>
          <a:ea typeface="+mn-ea"/>
          <a:cs typeface="+mn-cs"/>
        </a:defRPr>
      </a:lvl4pPr>
      <a:lvl5pPr marL="2399940" marR="0" indent="-287993" algn="l" defTabSz="1219170" rtl="0" eaLnBrk="1" fontAlgn="auto" latinLnBrk="0" hangingPunct="1">
        <a:lnSpc>
          <a:spcPct val="100000"/>
        </a:lnSpc>
        <a:spcBef>
          <a:spcPts val="267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brigitte.seroussi@sante.gouv.f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55.png"/><Relationship Id="rId4" Type="http://schemas.openxmlformats.org/officeDocument/2006/relationships/hyperlink" Target="mailto:caroline.courde.ext@esante.gouv.fr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brigitte.seroussi@sante.gouv.f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hyperlink" Target="mailto:caroline.courde.ext@esante.gouv.f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3B6F1F6A-260C-4F95-833D-8218FC803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8" y="257365"/>
            <a:ext cx="9697339" cy="384721"/>
          </a:xfrm>
        </p:spPr>
        <p:txBody>
          <a:bodyPr/>
          <a:lstStyle/>
          <a:p>
            <a:r>
              <a:rPr lang="fr-FR" dirty="0"/>
              <a:t>Éthique du numérique en santé </a:t>
            </a: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C1FC85A4-2444-4C0A-81C5-F0392F8BDCC3}"/>
              </a:ext>
            </a:extLst>
          </p:cNvPr>
          <p:cNvSpPr txBox="1"/>
          <p:nvPr/>
        </p:nvSpPr>
        <p:spPr>
          <a:xfrm>
            <a:off x="465263" y="585943"/>
            <a:ext cx="8163344" cy="76944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kumimoji="0" lang="fr-FR" sz="22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A1E0"/>
                </a:solidFill>
                <a:effectLst/>
                <a:uLnTx/>
                <a:uFillTx/>
                <a:latin typeface="Marianne"/>
              </a:rPr>
              <a:t>Evaluation de la grille « Ethique des SI ESMS » par les structures </a:t>
            </a:r>
            <a:r>
              <a:rPr lang="fr-FR" sz="2200" dirty="0">
                <a:ln w="6350" cap="flat">
                  <a:noFill/>
                  <a:miter lim="800000"/>
                </a:ln>
                <a:solidFill>
                  <a:srgbClr val="00A1E0"/>
                </a:solidFill>
                <a:latin typeface="Marianne"/>
              </a:rPr>
              <a:t>du social et du médico-social</a:t>
            </a:r>
            <a:endParaRPr kumimoji="0" lang="fr-FR" sz="22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A1E0"/>
              </a:solidFill>
              <a:effectLst/>
              <a:uLnTx/>
              <a:uFillTx/>
              <a:latin typeface="Marianne" panose="02000000000000000000" pitchFamily="2" charset="0"/>
              <a:ea typeface="+mn-ea"/>
              <a:cs typeface="+mn-cs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E3F728E6-6C65-2CE9-9007-ABB00BC11779}"/>
              </a:ext>
            </a:extLst>
          </p:cNvPr>
          <p:cNvGrpSpPr>
            <a:grpSpLocks noChangeAspect="1"/>
          </p:cNvGrpSpPr>
          <p:nvPr/>
        </p:nvGrpSpPr>
        <p:grpSpPr>
          <a:xfrm rot="5400000" flipH="1">
            <a:off x="645322" y="1378094"/>
            <a:ext cx="344173" cy="578609"/>
            <a:chOff x="9774238" y="5526723"/>
            <a:chExt cx="269874" cy="439738"/>
          </a:xfrm>
        </p:grpSpPr>
        <p:sp>
          <p:nvSpPr>
            <p:cNvPr id="4" name="AutoShape 130">
              <a:extLst>
                <a:ext uri="{FF2B5EF4-FFF2-40B4-BE49-F238E27FC236}">
                  <a16:creationId xmlns:a16="http://schemas.microsoft.com/office/drawing/2014/main" id="{B5065CB7-AC1F-D4AE-67B1-613D2F352C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74238" y="5537835"/>
              <a:ext cx="268287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" name="Freeform 132">
              <a:extLst>
                <a:ext uri="{FF2B5EF4-FFF2-40B4-BE49-F238E27FC236}">
                  <a16:creationId xmlns:a16="http://schemas.microsoft.com/office/drawing/2014/main" id="{11359079-9754-058D-DF76-C1EFEF654A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5825" y="5526723"/>
              <a:ext cx="268287" cy="439738"/>
            </a:xfrm>
            <a:custGeom>
              <a:avLst/>
              <a:gdLst>
                <a:gd name="T0" fmla="*/ 818 w 950"/>
                <a:gd name="T1" fmla="*/ 325 h 1575"/>
                <a:gd name="T2" fmla="*/ 773 w 950"/>
                <a:gd name="T3" fmla="*/ 325 h 1575"/>
                <a:gd name="T4" fmla="*/ 624 w 950"/>
                <a:gd name="T5" fmla="*/ 741 h 1575"/>
                <a:gd name="T6" fmla="*/ 648 w 950"/>
                <a:gd name="T7" fmla="*/ 104 h 1575"/>
                <a:gd name="T8" fmla="*/ 773 w 950"/>
                <a:gd name="T9" fmla="*/ 220 h 1575"/>
                <a:gd name="T10" fmla="*/ 818 w 950"/>
                <a:gd name="T11" fmla="*/ 220 h 1575"/>
                <a:gd name="T12" fmla="*/ 617 w 950"/>
                <a:gd name="T13" fmla="*/ 71 h 1575"/>
                <a:gd name="T14" fmla="*/ 579 w 950"/>
                <a:gd name="T15" fmla="*/ 536 h 1575"/>
                <a:gd name="T16" fmla="*/ 210 w 950"/>
                <a:gd name="T17" fmla="*/ 577 h 1575"/>
                <a:gd name="T18" fmla="*/ 0 w 950"/>
                <a:gd name="T19" fmla="*/ 654 h 1575"/>
                <a:gd name="T20" fmla="*/ 22 w 950"/>
                <a:gd name="T21" fmla="*/ 1053 h 1575"/>
                <a:gd name="T22" fmla="*/ 45 w 950"/>
                <a:gd name="T23" fmla="*/ 986 h 1575"/>
                <a:gd name="T24" fmla="*/ 215 w 950"/>
                <a:gd name="T25" fmla="*/ 963 h 1575"/>
                <a:gd name="T26" fmla="*/ 576 w 950"/>
                <a:gd name="T27" fmla="*/ 988 h 1575"/>
                <a:gd name="T28" fmla="*/ 703 w 950"/>
                <a:gd name="T29" fmla="*/ 983 h 1575"/>
                <a:gd name="T30" fmla="*/ 477 w 950"/>
                <a:gd name="T31" fmla="*/ 791 h 1575"/>
                <a:gd name="T32" fmla="*/ 594 w 950"/>
                <a:gd name="T33" fmla="*/ 779 h 1575"/>
                <a:gd name="T34" fmla="*/ 899 w 950"/>
                <a:gd name="T35" fmla="*/ 966 h 1575"/>
                <a:gd name="T36" fmla="*/ 837 w 950"/>
                <a:gd name="T37" fmla="*/ 1260 h 1575"/>
                <a:gd name="T38" fmla="*/ 692 w 950"/>
                <a:gd name="T39" fmla="*/ 1376 h 1575"/>
                <a:gd name="T40" fmla="*/ 703 w 950"/>
                <a:gd name="T41" fmla="*/ 1420 h 1575"/>
                <a:gd name="T42" fmla="*/ 723 w 950"/>
                <a:gd name="T43" fmla="*/ 1471 h 1575"/>
                <a:gd name="T44" fmla="*/ 636 w 950"/>
                <a:gd name="T45" fmla="*/ 1530 h 1575"/>
                <a:gd name="T46" fmla="*/ 636 w 950"/>
                <a:gd name="T47" fmla="*/ 1575 h 1575"/>
                <a:gd name="T48" fmla="*/ 768 w 950"/>
                <a:gd name="T49" fmla="*/ 1471 h 1575"/>
                <a:gd name="T50" fmla="*/ 806 w 950"/>
                <a:gd name="T51" fmla="*/ 1369 h 1575"/>
                <a:gd name="T52" fmla="*/ 943 w 950"/>
                <a:gd name="T53" fmla="*/ 975 h 1575"/>
                <a:gd name="T54" fmla="*/ 818 w 950"/>
                <a:gd name="T55" fmla="*/ 786 h 1575"/>
                <a:gd name="T56" fmla="*/ 45 w 950"/>
                <a:gd name="T57" fmla="*/ 893 h 1575"/>
                <a:gd name="T58" fmla="*/ 133 w 950"/>
                <a:gd name="T59" fmla="*/ 581 h 1575"/>
                <a:gd name="T60" fmla="*/ 193 w 950"/>
                <a:gd name="T61" fmla="*/ 901 h 1575"/>
                <a:gd name="T62" fmla="*/ 386 w 950"/>
                <a:gd name="T63" fmla="*/ 893 h 1575"/>
                <a:gd name="T64" fmla="*/ 238 w 950"/>
                <a:gd name="T65" fmla="*/ 901 h 1575"/>
                <a:gd name="T66" fmla="*/ 312 w 950"/>
                <a:gd name="T67" fmla="*/ 564 h 1575"/>
                <a:gd name="T68" fmla="*/ 386 w 950"/>
                <a:gd name="T69" fmla="*/ 893 h 1575"/>
                <a:gd name="T70" fmla="*/ 431 w 950"/>
                <a:gd name="T71" fmla="*/ 893 h 1575"/>
                <a:gd name="T72" fmla="*/ 524 w 950"/>
                <a:gd name="T73" fmla="*/ 964 h 1575"/>
                <a:gd name="T74" fmla="*/ 520 w 950"/>
                <a:gd name="T75" fmla="*/ 714 h 1575"/>
                <a:gd name="T76" fmla="*/ 431 w 950"/>
                <a:gd name="T77" fmla="*/ 629 h 1575"/>
                <a:gd name="T78" fmla="*/ 579 w 950"/>
                <a:gd name="T79" fmla="*/ 629 h 1575"/>
                <a:gd name="T80" fmla="*/ 579 w 950"/>
                <a:gd name="T81" fmla="*/ 727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0" h="1575">
                  <a:moveTo>
                    <a:pt x="818" y="786"/>
                  </a:moveTo>
                  <a:cubicBezTo>
                    <a:pt x="818" y="325"/>
                    <a:pt x="818" y="325"/>
                    <a:pt x="818" y="325"/>
                  </a:cubicBezTo>
                  <a:cubicBezTo>
                    <a:pt x="818" y="313"/>
                    <a:pt x="808" y="303"/>
                    <a:pt x="795" y="303"/>
                  </a:cubicBezTo>
                  <a:cubicBezTo>
                    <a:pt x="783" y="303"/>
                    <a:pt x="773" y="313"/>
                    <a:pt x="773" y="325"/>
                  </a:cubicBezTo>
                  <a:cubicBezTo>
                    <a:pt x="773" y="778"/>
                    <a:pt x="773" y="778"/>
                    <a:pt x="773" y="778"/>
                  </a:cubicBezTo>
                  <a:cubicBezTo>
                    <a:pt x="712" y="768"/>
                    <a:pt x="657" y="752"/>
                    <a:pt x="624" y="741"/>
                  </a:cubicBezTo>
                  <a:cubicBezTo>
                    <a:pt x="624" y="669"/>
                    <a:pt x="624" y="238"/>
                    <a:pt x="624" y="158"/>
                  </a:cubicBezTo>
                  <a:cubicBezTo>
                    <a:pt x="624" y="137"/>
                    <a:pt x="633" y="118"/>
                    <a:pt x="648" y="104"/>
                  </a:cubicBezTo>
                  <a:cubicBezTo>
                    <a:pt x="696" y="60"/>
                    <a:pt x="773" y="94"/>
                    <a:pt x="773" y="160"/>
                  </a:cubicBezTo>
                  <a:cubicBezTo>
                    <a:pt x="773" y="220"/>
                    <a:pt x="773" y="220"/>
                    <a:pt x="773" y="220"/>
                  </a:cubicBezTo>
                  <a:cubicBezTo>
                    <a:pt x="773" y="232"/>
                    <a:pt x="783" y="243"/>
                    <a:pt x="795" y="243"/>
                  </a:cubicBezTo>
                  <a:cubicBezTo>
                    <a:pt x="808" y="243"/>
                    <a:pt x="818" y="232"/>
                    <a:pt x="818" y="220"/>
                  </a:cubicBezTo>
                  <a:cubicBezTo>
                    <a:pt x="818" y="160"/>
                    <a:pt x="818" y="160"/>
                    <a:pt x="818" y="160"/>
                  </a:cubicBezTo>
                  <a:cubicBezTo>
                    <a:pt x="818" y="55"/>
                    <a:pt x="694" y="0"/>
                    <a:pt x="617" y="71"/>
                  </a:cubicBezTo>
                  <a:cubicBezTo>
                    <a:pt x="593" y="93"/>
                    <a:pt x="579" y="125"/>
                    <a:pt x="579" y="158"/>
                  </a:cubicBezTo>
                  <a:cubicBezTo>
                    <a:pt x="579" y="536"/>
                    <a:pt x="579" y="536"/>
                    <a:pt x="579" y="536"/>
                  </a:cubicBezTo>
                  <a:cubicBezTo>
                    <a:pt x="524" y="491"/>
                    <a:pt x="443" y="506"/>
                    <a:pt x="405" y="564"/>
                  </a:cubicBezTo>
                  <a:cubicBezTo>
                    <a:pt x="352" y="498"/>
                    <a:pt x="252" y="507"/>
                    <a:pt x="210" y="577"/>
                  </a:cubicBezTo>
                  <a:cubicBezTo>
                    <a:pt x="210" y="577"/>
                    <a:pt x="210" y="577"/>
                    <a:pt x="210" y="577"/>
                  </a:cubicBezTo>
                  <a:cubicBezTo>
                    <a:pt x="138" y="493"/>
                    <a:pt x="0" y="543"/>
                    <a:pt x="0" y="654"/>
                  </a:cubicBezTo>
                  <a:cubicBezTo>
                    <a:pt x="0" y="664"/>
                    <a:pt x="0" y="1019"/>
                    <a:pt x="0" y="1030"/>
                  </a:cubicBezTo>
                  <a:cubicBezTo>
                    <a:pt x="0" y="1042"/>
                    <a:pt x="10" y="1053"/>
                    <a:pt x="22" y="1053"/>
                  </a:cubicBezTo>
                  <a:cubicBezTo>
                    <a:pt x="35" y="1053"/>
                    <a:pt x="45" y="1042"/>
                    <a:pt x="45" y="1030"/>
                  </a:cubicBezTo>
                  <a:cubicBezTo>
                    <a:pt x="45" y="986"/>
                    <a:pt x="45" y="986"/>
                    <a:pt x="45" y="986"/>
                  </a:cubicBezTo>
                  <a:cubicBezTo>
                    <a:pt x="65" y="1002"/>
                    <a:pt x="91" y="1012"/>
                    <a:pt x="119" y="1012"/>
                  </a:cubicBezTo>
                  <a:cubicBezTo>
                    <a:pt x="158" y="1012"/>
                    <a:pt x="194" y="993"/>
                    <a:pt x="215" y="963"/>
                  </a:cubicBezTo>
                  <a:cubicBezTo>
                    <a:pt x="263" y="1028"/>
                    <a:pt x="361" y="1028"/>
                    <a:pt x="408" y="962"/>
                  </a:cubicBezTo>
                  <a:cubicBezTo>
                    <a:pt x="448" y="1017"/>
                    <a:pt x="523" y="1028"/>
                    <a:pt x="576" y="988"/>
                  </a:cubicBezTo>
                  <a:cubicBezTo>
                    <a:pt x="622" y="1007"/>
                    <a:pt x="687" y="1027"/>
                    <a:pt x="697" y="1027"/>
                  </a:cubicBezTo>
                  <a:cubicBezTo>
                    <a:pt x="724" y="1027"/>
                    <a:pt x="728" y="990"/>
                    <a:pt x="703" y="983"/>
                  </a:cubicBezTo>
                  <a:cubicBezTo>
                    <a:pt x="605" y="958"/>
                    <a:pt x="538" y="921"/>
                    <a:pt x="535" y="919"/>
                  </a:cubicBezTo>
                  <a:cubicBezTo>
                    <a:pt x="513" y="907"/>
                    <a:pt x="443" y="862"/>
                    <a:pt x="477" y="791"/>
                  </a:cubicBezTo>
                  <a:cubicBezTo>
                    <a:pt x="496" y="752"/>
                    <a:pt x="505" y="750"/>
                    <a:pt x="583" y="775"/>
                  </a:cubicBezTo>
                  <a:cubicBezTo>
                    <a:pt x="591" y="777"/>
                    <a:pt x="595" y="779"/>
                    <a:pt x="594" y="779"/>
                  </a:cubicBezTo>
                  <a:cubicBezTo>
                    <a:pt x="703" y="817"/>
                    <a:pt x="792" y="826"/>
                    <a:pt x="791" y="826"/>
                  </a:cubicBezTo>
                  <a:cubicBezTo>
                    <a:pt x="858" y="839"/>
                    <a:pt x="904" y="899"/>
                    <a:pt x="899" y="966"/>
                  </a:cubicBezTo>
                  <a:cubicBezTo>
                    <a:pt x="898" y="972"/>
                    <a:pt x="895" y="1046"/>
                    <a:pt x="870" y="1170"/>
                  </a:cubicBezTo>
                  <a:cubicBezTo>
                    <a:pt x="865" y="1198"/>
                    <a:pt x="859" y="1222"/>
                    <a:pt x="837" y="1260"/>
                  </a:cubicBezTo>
                  <a:cubicBezTo>
                    <a:pt x="820" y="1288"/>
                    <a:pt x="799" y="1314"/>
                    <a:pt x="775" y="1337"/>
                  </a:cubicBezTo>
                  <a:cubicBezTo>
                    <a:pt x="771" y="1340"/>
                    <a:pt x="744" y="1364"/>
                    <a:pt x="692" y="1376"/>
                  </a:cubicBezTo>
                  <a:cubicBezTo>
                    <a:pt x="680" y="1379"/>
                    <a:pt x="672" y="1392"/>
                    <a:pt x="675" y="1404"/>
                  </a:cubicBezTo>
                  <a:cubicBezTo>
                    <a:pt x="678" y="1416"/>
                    <a:pt x="690" y="1423"/>
                    <a:pt x="703" y="1420"/>
                  </a:cubicBezTo>
                  <a:cubicBezTo>
                    <a:pt x="710" y="1418"/>
                    <a:pt x="717" y="1417"/>
                    <a:pt x="723" y="1414"/>
                  </a:cubicBezTo>
                  <a:cubicBezTo>
                    <a:pt x="723" y="1471"/>
                    <a:pt x="723" y="1471"/>
                    <a:pt x="723" y="1471"/>
                  </a:cubicBezTo>
                  <a:cubicBezTo>
                    <a:pt x="723" y="1504"/>
                    <a:pt x="697" y="1530"/>
                    <a:pt x="664" y="1530"/>
                  </a:cubicBezTo>
                  <a:cubicBezTo>
                    <a:pt x="636" y="1530"/>
                    <a:pt x="636" y="1530"/>
                    <a:pt x="636" y="1530"/>
                  </a:cubicBezTo>
                  <a:cubicBezTo>
                    <a:pt x="623" y="1530"/>
                    <a:pt x="613" y="1540"/>
                    <a:pt x="613" y="1553"/>
                  </a:cubicBezTo>
                  <a:cubicBezTo>
                    <a:pt x="613" y="1565"/>
                    <a:pt x="623" y="1575"/>
                    <a:pt x="636" y="1575"/>
                  </a:cubicBezTo>
                  <a:cubicBezTo>
                    <a:pt x="664" y="1575"/>
                    <a:pt x="664" y="1575"/>
                    <a:pt x="664" y="1575"/>
                  </a:cubicBezTo>
                  <a:cubicBezTo>
                    <a:pt x="722" y="1575"/>
                    <a:pt x="768" y="1528"/>
                    <a:pt x="768" y="1471"/>
                  </a:cubicBezTo>
                  <a:cubicBezTo>
                    <a:pt x="768" y="1400"/>
                    <a:pt x="768" y="1400"/>
                    <a:pt x="768" y="1400"/>
                  </a:cubicBezTo>
                  <a:cubicBezTo>
                    <a:pt x="771" y="1398"/>
                    <a:pt x="790" y="1385"/>
                    <a:pt x="806" y="1369"/>
                  </a:cubicBezTo>
                  <a:cubicBezTo>
                    <a:pt x="859" y="1320"/>
                    <a:pt x="901" y="1252"/>
                    <a:pt x="913" y="1185"/>
                  </a:cubicBezTo>
                  <a:cubicBezTo>
                    <a:pt x="918" y="1156"/>
                    <a:pt x="936" y="1077"/>
                    <a:pt x="943" y="975"/>
                  </a:cubicBezTo>
                  <a:cubicBezTo>
                    <a:pt x="944" y="970"/>
                    <a:pt x="944" y="970"/>
                    <a:pt x="944" y="970"/>
                  </a:cubicBezTo>
                  <a:cubicBezTo>
                    <a:pt x="950" y="886"/>
                    <a:pt x="897" y="810"/>
                    <a:pt x="818" y="786"/>
                  </a:cubicBezTo>
                  <a:close/>
                  <a:moveTo>
                    <a:pt x="119" y="967"/>
                  </a:moveTo>
                  <a:cubicBezTo>
                    <a:pt x="78" y="967"/>
                    <a:pt x="45" y="934"/>
                    <a:pt x="45" y="893"/>
                  </a:cubicBezTo>
                  <a:cubicBezTo>
                    <a:pt x="45" y="654"/>
                    <a:pt x="45" y="654"/>
                    <a:pt x="45" y="654"/>
                  </a:cubicBezTo>
                  <a:cubicBezTo>
                    <a:pt x="45" y="608"/>
                    <a:pt x="87" y="572"/>
                    <a:pt x="133" y="581"/>
                  </a:cubicBezTo>
                  <a:cubicBezTo>
                    <a:pt x="164" y="587"/>
                    <a:pt x="188" y="612"/>
                    <a:pt x="192" y="644"/>
                  </a:cubicBezTo>
                  <a:cubicBezTo>
                    <a:pt x="193" y="907"/>
                    <a:pt x="192" y="892"/>
                    <a:pt x="193" y="901"/>
                  </a:cubicBezTo>
                  <a:cubicBezTo>
                    <a:pt x="189" y="938"/>
                    <a:pt x="157" y="967"/>
                    <a:pt x="119" y="967"/>
                  </a:cubicBezTo>
                  <a:close/>
                  <a:moveTo>
                    <a:pt x="386" y="893"/>
                  </a:moveTo>
                  <a:cubicBezTo>
                    <a:pt x="386" y="934"/>
                    <a:pt x="353" y="967"/>
                    <a:pt x="312" y="967"/>
                  </a:cubicBezTo>
                  <a:cubicBezTo>
                    <a:pt x="273" y="967"/>
                    <a:pt x="242" y="938"/>
                    <a:pt x="238" y="901"/>
                  </a:cubicBezTo>
                  <a:cubicBezTo>
                    <a:pt x="238" y="895"/>
                    <a:pt x="239" y="657"/>
                    <a:pt x="237" y="639"/>
                  </a:cubicBezTo>
                  <a:cubicBezTo>
                    <a:pt x="237" y="598"/>
                    <a:pt x="271" y="564"/>
                    <a:pt x="312" y="564"/>
                  </a:cubicBezTo>
                  <a:cubicBezTo>
                    <a:pt x="353" y="564"/>
                    <a:pt x="386" y="598"/>
                    <a:pt x="386" y="639"/>
                  </a:cubicBezTo>
                  <a:lnTo>
                    <a:pt x="386" y="893"/>
                  </a:lnTo>
                  <a:close/>
                  <a:moveTo>
                    <a:pt x="524" y="964"/>
                  </a:moveTo>
                  <a:cubicBezTo>
                    <a:pt x="477" y="977"/>
                    <a:pt x="431" y="941"/>
                    <a:pt x="431" y="893"/>
                  </a:cubicBezTo>
                  <a:cubicBezTo>
                    <a:pt x="431" y="871"/>
                    <a:pt x="431" y="871"/>
                    <a:pt x="431" y="871"/>
                  </a:cubicBezTo>
                  <a:cubicBezTo>
                    <a:pt x="444" y="905"/>
                    <a:pt x="472" y="938"/>
                    <a:pt x="524" y="964"/>
                  </a:cubicBezTo>
                  <a:close/>
                  <a:moveTo>
                    <a:pt x="579" y="727"/>
                  </a:moveTo>
                  <a:cubicBezTo>
                    <a:pt x="561" y="721"/>
                    <a:pt x="539" y="715"/>
                    <a:pt x="520" y="714"/>
                  </a:cubicBezTo>
                  <a:cubicBezTo>
                    <a:pt x="474" y="711"/>
                    <a:pt x="447" y="742"/>
                    <a:pt x="431" y="785"/>
                  </a:cubicBezTo>
                  <a:cubicBezTo>
                    <a:pt x="431" y="739"/>
                    <a:pt x="431" y="676"/>
                    <a:pt x="431" y="629"/>
                  </a:cubicBezTo>
                  <a:cubicBezTo>
                    <a:pt x="431" y="588"/>
                    <a:pt x="464" y="555"/>
                    <a:pt x="505" y="555"/>
                  </a:cubicBezTo>
                  <a:cubicBezTo>
                    <a:pt x="546" y="555"/>
                    <a:pt x="579" y="588"/>
                    <a:pt x="579" y="629"/>
                  </a:cubicBezTo>
                  <a:lnTo>
                    <a:pt x="579" y="727"/>
                  </a:lnTo>
                  <a:close/>
                  <a:moveTo>
                    <a:pt x="579" y="727"/>
                  </a:moveTo>
                  <a:cubicBezTo>
                    <a:pt x="579" y="727"/>
                    <a:pt x="579" y="727"/>
                    <a:pt x="579" y="727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" name="Freeform 133">
              <a:extLst>
                <a:ext uri="{FF2B5EF4-FFF2-40B4-BE49-F238E27FC236}">
                  <a16:creationId xmlns:a16="http://schemas.microsoft.com/office/drawing/2014/main" id="{2D3A5353-35ED-A7B9-ED13-5AB65EEE03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5825" y="5837873"/>
              <a:ext cx="155575" cy="128588"/>
            </a:xfrm>
            <a:custGeom>
              <a:avLst/>
              <a:gdLst>
                <a:gd name="T0" fmla="*/ 531 w 553"/>
                <a:gd name="T1" fmla="*/ 418 h 463"/>
                <a:gd name="T2" fmla="*/ 210 w 553"/>
                <a:gd name="T3" fmla="*/ 418 h 463"/>
                <a:gd name="T4" fmla="*/ 150 w 553"/>
                <a:gd name="T5" fmla="*/ 358 h 463"/>
                <a:gd name="T6" fmla="*/ 112 w 553"/>
                <a:gd name="T7" fmla="*/ 212 h 463"/>
                <a:gd name="T8" fmla="*/ 45 w 553"/>
                <a:gd name="T9" fmla="*/ 22 h 463"/>
                <a:gd name="T10" fmla="*/ 22 w 553"/>
                <a:gd name="T11" fmla="*/ 1 h 463"/>
                <a:gd name="T12" fmla="*/ 0 w 553"/>
                <a:gd name="T13" fmla="*/ 24 h 463"/>
                <a:gd name="T14" fmla="*/ 76 w 553"/>
                <a:gd name="T15" fmla="*/ 239 h 463"/>
                <a:gd name="T16" fmla="*/ 105 w 553"/>
                <a:gd name="T17" fmla="*/ 358 h 463"/>
                <a:gd name="T18" fmla="*/ 210 w 553"/>
                <a:gd name="T19" fmla="*/ 463 h 463"/>
                <a:gd name="T20" fmla="*/ 531 w 553"/>
                <a:gd name="T21" fmla="*/ 463 h 463"/>
                <a:gd name="T22" fmla="*/ 553 w 553"/>
                <a:gd name="T23" fmla="*/ 441 h 463"/>
                <a:gd name="T24" fmla="*/ 531 w 553"/>
                <a:gd name="T25" fmla="*/ 418 h 463"/>
                <a:gd name="T26" fmla="*/ 531 w 553"/>
                <a:gd name="T27" fmla="*/ 418 h 463"/>
                <a:gd name="T28" fmla="*/ 531 w 553"/>
                <a:gd name="T29" fmla="*/ 41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3" h="463">
                  <a:moveTo>
                    <a:pt x="531" y="418"/>
                  </a:moveTo>
                  <a:cubicBezTo>
                    <a:pt x="210" y="418"/>
                    <a:pt x="210" y="418"/>
                    <a:pt x="210" y="418"/>
                  </a:cubicBezTo>
                  <a:cubicBezTo>
                    <a:pt x="177" y="418"/>
                    <a:pt x="150" y="391"/>
                    <a:pt x="150" y="358"/>
                  </a:cubicBezTo>
                  <a:cubicBezTo>
                    <a:pt x="149" y="345"/>
                    <a:pt x="160" y="277"/>
                    <a:pt x="112" y="212"/>
                  </a:cubicBezTo>
                  <a:cubicBezTo>
                    <a:pt x="71" y="157"/>
                    <a:pt x="47" y="91"/>
                    <a:pt x="45" y="22"/>
                  </a:cubicBezTo>
                  <a:cubicBezTo>
                    <a:pt x="44" y="10"/>
                    <a:pt x="34" y="0"/>
                    <a:pt x="22" y="1"/>
                  </a:cubicBezTo>
                  <a:cubicBezTo>
                    <a:pt x="9" y="1"/>
                    <a:pt x="0" y="11"/>
                    <a:pt x="0" y="24"/>
                  </a:cubicBezTo>
                  <a:cubicBezTo>
                    <a:pt x="3" y="102"/>
                    <a:pt x="29" y="176"/>
                    <a:pt x="76" y="239"/>
                  </a:cubicBezTo>
                  <a:cubicBezTo>
                    <a:pt x="114" y="290"/>
                    <a:pt x="104" y="344"/>
                    <a:pt x="105" y="358"/>
                  </a:cubicBezTo>
                  <a:cubicBezTo>
                    <a:pt x="105" y="416"/>
                    <a:pt x="152" y="463"/>
                    <a:pt x="210" y="463"/>
                  </a:cubicBezTo>
                  <a:cubicBezTo>
                    <a:pt x="531" y="463"/>
                    <a:pt x="531" y="463"/>
                    <a:pt x="531" y="463"/>
                  </a:cubicBezTo>
                  <a:cubicBezTo>
                    <a:pt x="543" y="463"/>
                    <a:pt x="553" y="453"/>
                    <a:pt x="553" y="441"/>
                  </a:cubicBezTo>
                  <a:cubicBezTo>
                    <a:pt x="553" y="428"/>
                    <a:pt x="543" y="418"/>
                    <a:pt x="531" y="418"/>
                  </a:cubicBezTo>
                  <a:close/>
                  <a:moveTo>
                    <a:pt x="531" y="418"/>
                  </a:moveTo>
                  <a:cubicBezTo>
                    <a:pt x="531" y="418"/>
                    <a:pt x="531" y="418"/>
                    <a:pt x="531" y="418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7" name="TextBox 17">
            <a:extLst>
              <a:ext uri="{FF2B5EF4-FFF2-40B4-BE49-F238E27FC236}">
                <a16:creationId xmlns:a16="http://schemas.microsoft.com/office/drawing/2014/main" id="{27E20398-BD3D-46F0-58CA-703FE4A73827}"/>
              </a:ext>
            </a:extLst>
          </p:cNvPr>
          <p:cNvSpPr txBox="1"/>
          <p:nvPr/>
        </p:nvSpPr>
        <p:spPr>
          <a:xfrm>
            <a:off x="1224410" y="1494941"/>
            <a:ext cx="6219940" cy="86177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</a:rPr>
              <a:t>Cette expérimentation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s’inscrit dans le cadre des travaux menés par la DNS pour construire le </a:t>
            </a:r>
            <a:r>
              <a:rPr lang="fr-FR" sz="1400" b="1" dirty="0">
                <a:solidFill>
                  <a:srgbClr val="006AB2"/>
                </a:solidFill>
              </a:rPr>
              <a:t>cadre Éthique du numérique en santé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. Une </a:t>
            </a:r>
            <a:r>
              <a:rPr lang="fr-FR" sz="1400" b="1" dirty="0">
                <a:solidFill>
                  <a:srgbClr val="006AB2"/>
                </a:solidFill>
              </a:rPr>
              <a:t>déclinaison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du cadre a été formalisée sous la forme d’une grille de critères </a:t>
            </a:r>
            <a:r>
              <a:rPr lang="fr-FR" sz="1400" b="1" dirty="0">
                <a:solidFill>
                  <a:srgbClr val="006AB2"/>
                </a:solidFill>
              </a:rPr>
              <a:t>s’appliquant aux ESMS.</a:t>
            </a: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F6D532E1-DED6-2B95-4EEB-5089F1145D9D}"/>
              </a:ext>
            </a:extLst>
          </p:cNvPr>
          <p:cNvSpPr txBox="1"/>
          <p:nvPr/>
        </p:nvSpPr>
        <p:spPr>
          <a:xfrm>
            <a:off x="528103" y="2539265"/>
            <a:ext cx="6850467" cy="591355"/>
          </a:xfrm>
          <a:prstGeom prst="rect">
            <a:avLst/>
          </a:prstGeom>
          <a:solidFill>
            <a:srgbClr val="E7F6FF"/>
          </a:solidFill>
          <a:ln w="19050">
            <a:noFill/>
            <a:prstDash val="sysDot"/>
          </a:ln>
        </p:spPr>
        <p:txBody>
          <a:bodyPr vert="horz" wrap="square" lIns="144000" tIns="72000" rIns="144000" bIns="720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  <a:cs typeface="Arial"/>
              </a:rPr>
              <a:t>Objectif de l’évaluation : Améliorer la grille des critères éthiques en </a:t>
            </a:r>
            <a:r>
              <a:rPr lang="fr-FR" sz="1400" b="1">
                <a:solidFill>
                  <a:srgbClr val="006AB2"/>
                </a:solidFill>
                <a:cs typeface="Arial"/>
              </a:rPr>
              <a:t>recueillant les retours des ESMS avant la mise en concertation </a:t>
            </a:r>
            <a:r>
              <a:rPr lang="fr-FR" sz="1400" b="1" dirty="0">
                <a:solidFill>
                  <a:srgbClr val="006AB2"/>
                </a:solidFill>
                <a:cs typeface="Arial"/>
              </a:rPr>
              <a:t>publique</a:t>
            </a:r>
            <a:endParaRPr lang="fr-FR" sz="140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grpSp>
        <p:nvGrpSpPr>
          <p:cNvPr id="9" name="Gruppieren 1048">
            <a:extLst>
              <a:ext uri="{FF2B5EF4-FFF2-40B4-BE49-F238E27FC236}">
                <a16:creationId xmlns:a16="http://schemas.microsoft.com/office/drawing/2014/main" id="{2BB8C9DB-EC92-5BFC-D391-B10EBAF8E17A}"/>
              </a:ext>
            </a:extLst>
          </p:cNvPr>
          <p:cNvGrpSpPr>
            <a:grpSpLocks noChangeAspect="1"/>
          </p:cNvGrpSpPr>
          <p:nvPr/>
        </p:nvGrpSpPr>
        <p:grpSpPr>
          <a:xfrm>
            <a:off x="8531046" y="1256796"/>
            <a:ext cx="662193" cy="434754"/>
            <a:chOff x="-1997076" y="2128838"/>
            <a:chExt cx="1724026" cy="1131887"/>
          </a:xfrm>
          <a:solidFill>
            <a:schemeClr val="bg1">
              <a:lumMod val="50000"/>
            </a:schemeClr>
          </a:solidFill>
        </p:grpSpPr>
        <p:sp>
          <p:nvSpPr>
            <p:cNvPr id="10" name="Freeform 20">
              <a:extLst>
                <a:ext uri="{FF2B5EF4-FFF2-40B4-BE49-F238E27FC236}">
                  <a16:creationId xmlns:a16="http://schemas.microsoft.com/office/drawing/2014/main" id="{F626B986-0D20-32CB-AF00-3D6BB4659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97076" y="2181225"/>
              <a:ext cx="1185863" cy="862012"/>
            </a:xfrm>
            <a:custGeom>
              <a:avLst/>
              <a:gdLst>
                <a:gd name="T0" fmla="*/ 1117 w 1117"/>
                <a:gd name="T1" fmla="*/ 811 h 811"/>
                <a:gd name="T2" fmla="*/ 18 w 1117"/>
                <a:gd name="T3" fmla="*/ 811 h 811"/>
                <a:gd name="T4" fmla="*/ 0 w 1117"/>
                <a:gd name="T5" fmla="*/ 794 h 811"/>
                <a:gd name="T6" fmla="*/ 0 w 1117"/>
                <a:gd name="T7" fmla="*/ 103 h 811"/>
                <a:gd name="T8" fmla="*/ 104 w 1117"/>
                <a:gd name="T9" fmla="*/ 0 h 811"/>
                <a:gd name="T10" fmla="*/ 292 w 1117"/>
                <a:gd name="T11" fmla="*/ 1 h 811"/>
                <a:gd name="T12" fmla="*/ 292 w 1117"/>
                <a:gd name="T13" fmla="*/ 36 h 811"/>
                <a:gd name="T14" fmla="*/ 104 w 1117"/>
                <a:gd name="T15" fmla="*/ 35 h 811"/>
                <a:gd name="T16" fmla="*/ 36 w 1117"/>
                <a:gd name="T17" fmla="*/ 103 h 811"/>
                <a:gd name="T18" fmla="*/ 36 w 1117"/>
                <a:gd name="T19" fmla="*/ 776 h 811"/>
                <a:gd name="T20" fmla="*/ 1117 w 1117"/>
                <a:gd name="T21" fmla="*/ 776 h 811"/>
                <a:gd name="T22" fmla="*/ 1117 w 1117"/>
                <a:gd name="T23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17" h="811">
                  <a:moveTo>
                    <a:pt x="1117" y="811"/>
                  </a:moveTo>
                  <a:cubicBezTo>
                    <a:pt x="18" y="811"/>
                    <a:pt x="18" y="811"/>
                    <a:pt x="18" y="811"/>
                  </a:cubicBezTo>
                  <a:cubicBezTo>
                    <a:pt x="8" y="811"/>
                    <a:pt x="0" y="803"/>
                    <a:pt x="0" y="794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46"/>
                    <a:pt x="47" y="0"/>
                    <a:pt x="104" y="0"/>
                  </a:cubicBezTo>
                  <a:cubicBezTo>
                    <a:pt x="292" y="1"/>
                    <a:pt x="292" y="1"/>
                    <a:pt x="292" y="1"/>
                  </a:cubicBezTo>
                  <a:cubicBezTo>
                    <a:pt x="292" y="36"/>
                    <a:pt x="292" y="36"/>
                    <a:pt x="292" y="36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66" y="35"/>
                    <a:pt x="36" y="66"/>
                    <a:pt x="36" y="103"/>
                  </a:cubicBezTo>
                  <a:cubicBezTo>
                    <a:pt x="36" y="776"/>
                    <a:pt x="36" y="776"/>
                    <a:pt x="36" y="776"/>
                  </a:cubicBezTo>
                  <a:cubicBezTo>
                    <a:pt x="1117" y="776"/>
                    <a:pt x="1117" y="776"/>
                    <a:pt x="1117" y="776"/>
                  </a:cubicBezTo>
                  <a:lnTo>
                    <a:pt x="1117" y="8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0AE22A64-125C-BA31-6F3F-07C57A3C3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2801" y="2181225"/>
              <a:ext cx="307975" cy="534987"/>
            </a:xfrm>
            <a:custGeom>
              <a:avLst/>
              <a:gdLst>
                <a:gd name="T0" fmla="*/ 291 w 291"/>
                <a:gd name="T1" fmla="*/ 502 h 502"/>
                <a:gd name="T2" fmla="*/ 256 w 291"/>
                <a:gd name="T3" fmla="*/ 502 h 502"/>
                <a:gd name="T4" fmla="*/ 256 w 291"/>
                <a:gd name="T5" fmla="*/ 103 h 502"/>
                <a:gd name="T6" fmla="*/ 188 w 291"/>
                <a:gd name="T7" fmla="*/ 35 h 502"/>
                <a:gd name="T8" fmla="*/ 0 w 291"/>
                <a:gd name="T9" fmla="*/ 35 h 502"/>
                <a:gd name="T10" fmla="*/ 0 w 291"/>
                <a:gd name="T11" fmla="*/ 0 h 502"/>
                <a:gd name="T12" fmla="*/ 188 w 291"/>
                <a:gd name="T13" fmla="*/ 0 h 502"/>
                <a:gd name="T14" fmla="*/ 291 w 291"/>
                <a:gd name="T15" fmla="*/ 103 h 502"/>
                <a:gd name="T16" fmla="*/ 291 w 291"/>
                <a:gd name="T17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502">
                  <a:moveTo>
                    <a:pt x="291" y="502"/>
                  </a:moveTo>
                  <a:cubicBezTo>
                    <a:pt x="256" y="502"/>
                    <a:pt x="256" y="502"/>
                    <a:pt x="256" y="502"/>
                  </a:cubicBezTo>
                  <a:cubicBezTo>
                    <a:pt x="256" y="103"/>
                    <a:pt x="256" y="103"/>
                    <a:pt x="256" y="103"/>
                  </a:cubicBezTo>
                  <a:cubicBezTo>
                    <a:pt x="256" y="66"/>
                    <a:pt x="225" y="35"/>
                    <a:pt x="188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245" y="0"/>
                    <a:pt x="291" y="46"/>
                    <a:pt x="291" y="103"/>
                  </a:cubicBezTo>
                  <a:lnTo>
                    <a:pt x="291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12" name="Rectangle 22">
              <a:extLst>
                <a:ext uri="{FF2B5EF4-FFF2-40B4-BE49-F238E27FC236}">
                  <a16:creationId xmlns:a16="http://schemas.microsoft.com/office/drawing/2014/main" id="{DB93D2F8-E8B9-645C-A6E2-347AF9BF8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76388" y="2181225"/>
              <a:ext cx="650875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D76A82BE-4DFF-5892-892E-8569A82FB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52588" y="2128838"/>
              <a:ext cx="38100" cy="155575"/>
            </a:xfrm>
            <a:custGeom>
              <a:avLst/>
              <a:gdLst>
                <a:gd name="T0" fmla="*/ 18 w 36"/>
                <a:gd name="T1" fmla="*/ 146 h 146"/>
                <a:gd name="T2" fmla="*/ 0 w 36"/>
                <a:gd name="T3" fmla="*/ 128 h 146"/>
                <a:gd name="T4" fmla="*/ 0 w 36"/>
                <a:gd name="T5" fmla="*/ 17 h 146"/>
                <a:gd name="T6" fmla="*/ 18 w 36"/>
                <a:gd name="T7" fmla="*/ 0 h 146"/>
                <a:gd name="T8" fmla="*/ 36 w 36"/>
                <a:gd name="T9" fmla="*/ 17 h 146"/>
                <a:gd name="T10" fmla="*/ 36 w 36"/>
                <a:gd name="T11" fmla="*/ 128 h 146"/>
                <a:gd name="T12" fmla="*/ 18 w 36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46">
                  <a:moveTo>
                    <a:pt x="18" y="146"/>
                  </a:moveTo>
                  <a:cubicBezTo>
                    <a:pt x="8" y="146"/>
                    <a:pt x="0" y="138"/>
                    <a:pt x="0" y="12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8" y="0"/>
                    <a:pt x="36" y="7"/>
                    <a:pt x="36" y="1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36" y="138"/>
                    <a:pt x="28" y="146"/>
                    <a:pt x="18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B8E367EF-1AE8-4798-6DE6-9B3CEC349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5826" y="2128838"/>
              <a:ext cx="36513" cy="155575"/>
            </a:xfrm>
            <a:custGeom>
              <a:avLst/>
              <a:gdLst>
                <a:gd name="T0" fmla="*/ 18 w 35"/>
                <a:gd name="T1" fmla="*/ 146 h 146"/>
                <a:gd name="T2" fmla="*/ 0 w 35"/>
                <a:gd name="T3" fmla="*/ 128 h 146"/>
                <a:gd name="T4" fmla="*/ 0 w 35"/>
                <a:gd name="T5" fmla="*/ 17 h 146"/>
                <a:gd name="T6" fmla="*/ 18 w 35"/>
                <a:gd name="T7" fmla="*/ 0 h 146"/>
                <a:gd name="T8" fmla="*/ 35 w 35"/>
                <a:gd name="T9" fmla="*/ 17 h 146"/>
                <a:gd name="T10" fmla="*/ 35 w 35"/>
                <a:gd name="T11" fmla="*/ 128 h 146"/>
                <a:gd name="T12" fmla="*/ 18 w 35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46">
                  <a:moveTo>
                    <a:pt x="18" y="146"/>
                  </a:moveTo>
                  <a:cubicBezTo>
                    <a:pt x="8" y="146"/>
                    <a:pt x="0" y="138"/>
                    <a:pt x="0" y="12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128"/>
                    <a:pt x="35" y="128"/>
                    <a:pt x="35" y="128"/>
                  </a:cubicBezTo>
                  <a:cubicBezTo>
                    <a:pt x="35" y="138"/>
                    <a:pt x="27" y="146"/>
                    <a:pt x="18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12A1A5FF-EE88-84EC-43D7-4ED7176F5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9551" y="2401888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7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7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BD74EBBC-D508-665C-580C-BE966048B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4926" y="2401888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7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26B3DF5-A2CF-ADC2-4E54-340F220F9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1" y="2401888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7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521E9DC7-4AD1-8DBA-9A4F-1DCE0AA9B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7263" y="2401888"/>
              <a:ext cx="109538" cy="36512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7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7"/>
                    <a:pt x="103" y="17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19779C29-A6F1-71D0-3149-9380966C0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1051" y="2401888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7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7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D44A63A5-F0A4-08E3-A3B7-FC18EBD1A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28801" y="2503488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843AA127-5E8C-0E30-7CD8-61A285B5B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54176" y="2503488"/>
              <a:ext cx="109538" cy="38100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8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178B4F25-98B9-DC61-D3C1-FFAE7157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9551" y="2503488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8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53C16B03-001B-C693-3DF9-78B32930F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4926" y="2503488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2056118D-9C04-A6A8-86CE-77899A083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1" y="2503488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43E60CF6-AD5C-8F20-2296-5608D6352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7263" y="2503488"/>
              <a:ext cx="109538" cy="38100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8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0C68A190-EA32-3861-3C2C-101BDC508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1051" y="2503488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8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E00D8F2E-3E80-C34A-4854-B623F5C0A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28801" y="2606675"/>
              <a:ext cx="109538" cy="38100"/>
            </a:xfrm>
            <a:custGeom>
              <a:avLst/>
              <a:gdLst>
                <a:gd name="T0" fmla="*/ 85 w 103"/>
                <a:gd name="T1" fmla="*/ 36 h 36"/>
                <a:gd name="T2" fmla="*/ 18 w 103"/>
                <a:gd name="T3" fmla="*/ 36 h 36"/>
                <a:gd name="T4" fmla="*/ 0 w 103"/>
                <a:gd name="T5" fmla="*/ 18 h 36"/>
                <a:gd name="T6" fmla="*/ 18 w 103"/>
                <a:gd name="T7" fmla="*/ 0 h 36"/>
                <a:gd name="T8" fmla="*/ 85 w 103"/>
                <a:gd name="T9" fmla="*/ 0 h 36"/>
                <a:gd name="T10" fmla="*/ 103 w 103"/>
                <a:gd name="T11" fmla="*/ 18 h 36"/>
                <a:gd name="T12" fmla="*/ 85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5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699968B6-F4ED-32A6-3797-BE6717A2D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54176" y="2606675"/>
              <a:ext cx="109538" cy="38100"/>
            </a:xfrm>
            <a:custGeom>
              <a:avLst/>
              <a:gdLst>
                <a:gd name="T0" fmla="*/ 86 w 103"/>
                <a:gd name="T1" fmla="*/ 36 h 36"/>
                <a:gd name="T2" fmla="*/ 18 w 103"/>
                <a:gd name="T3" fmla="*/ 36 h 36"/>
                <a:gd name="T4" fmla="*/ 0 w 103"/>
                <a:gd name="T5" fmla="*/ 18 h 36"/>
                <a:gd name="T6" fmla="*/ 18 w 103"/>
                <a:gd name="T7" fmla="*/ 0 h 36"/>
                <a:gd name="T8" fmla="*/ 86 w 103"/>
                <a:gd name="T9" fmla="*/ 0 h 36"/>
                <a:gd name="T10" fmla="*/ 103 w 103"/>
                <a:gd name="T11" fmla="*/ 18 h 36"/>
                <a:gd name="T12" fmla="*/ 86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6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39960EA5-0F42-7700-AC4C-380773D8E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9551" y="2606675"/>
              <a:ext cx="109538" cy="38100"/>
            </a:xfrm>
            <a:custGeom>
              <a:avLst/>
              <a:gdLst>
                <a:gd name="T0" fmla="*/ 85 w 103"/>
                <a:gd name="T1" fmla="*/ 36 h 36"/>
                <a:gd name="T2" fmla="*/ 17 w 103"/>
                <a:gd name="T3" fmla="*/ 36 h 36"/>
                <a:gd name="T4" fmla="*/ 0 w 103"/>
                <a:gd name="T5" fmla="*/ 18 h 36"/>
                <a:gd name="T6" fmla="*/ 17 w 103"/>
                <a:gd name="T7" fmla="*/ 0 h 36"/>
                <a:gd name="T8" fmla="*/ 85 w 103"/>
                <a:gd name="T9" fmla="*/ 0 h 36"/>
                <a:gd name="T10" fmla="*/ 103 w 103"/>
                <a:gd name="T11" fmla="*/ 18 h 36"/>
                <a:gd name="T12" fmla="*/ 85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5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D12B40B6-2BFD-85FC-CE62-5EEC76E61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4926" y="2606675"/>
              <a:ext cx="109538" cy="38100"/>
            </a:xfrm>
            <a:custGeom>
              <a:avLst/>
              <a:gdLst>
                <a:gd name="T0" fmla="*/ 85 w 103"/>
                <a:gd name="T1" fmla="*/ 36 h 36"/>
                <a:gd name="T2" fmla="*/ 18 w 103"/>
                <a:gd name="T3" fmla="*/ 36 h 36"/>
                <a:gd name="T4" fmla="*/ 0 w 103"/>
                <a:gd name="T5" fmla="*/ 18 h 36"/>
                <a:gd name="T6" fmla="*/ 18 w 103"/>
                <a:gd name="T7" fmla="*/ 0 h 36"/>
                <a:gd name="T8" fmla="*/ 85 w 103"/>
                <a:gd name="T9" fmla="*/ 0 h 36"/>
                <a:gd name="T10" fmla="*/ 103 w 103"/>
                <a:gd name="T11" fmla="*/ 18 h 36"/>
                <a:gd name="T12" fmla="*/ 85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5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08CA9E64-4E31-8B89-5285-4B593782D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1" y="2606675"/>
              <a:ext cx="109538" cy="38100"/>
            </a:xfrm>
            <a:custGeom>
              <a:avLst/>
              <a:gdLst>
                <a:gd name="T0" fmla="*/ 85 w 103"/>
                <a:gd name="T1" fmla="*/ 36 h 36"/>
                <a:gd name="T2" fmla="*/ 18 w 103"/>
                <a:gd name="T3" fmla="*/ 36 h 36"/>
                <a:gd name="T4" fmla="*/ 0 w 103"/>
                <a:gd name="T5" fmla="*/ 18 h 36"/>
                <a:gd name="T6" fmla="*/ 18 w 103"/>
                <a:gd name="T7" fmla="*/ 0 h 36"/>
                <a:gd name="T8" fmla="*/ 85 w 103"/>
                <a:gd name="T9" fmla="*/ 0 h 36"/>
                <a:gd name="T10" fmla="*/ 103 w 103"/>
                <a:gd name="T11" fmla="*/ 18 h 36"/>
                <a:gd name="T12" fmla="*/ 85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5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2" name="Freeform 42">
              <a:extLst>
                <a:ext uri="{FF2B5EF4-FFF2-40B4-BE49-F238E27FC236}">
                  <a16:creationId xmlns:a16="http://schemas.microsoft.com/office/drawing/2014/main" id="{361F6964-B8F5-A945-8501-1A10FFB62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7263" y="2606675"/>
              <a:ext cx="109538" cy="38100"/>
            </a:xfrm>
            <a:custGeom>
              <a:avLst/>
              <a:gdLst>
                <a:gd name="T0" fmla="*/ 86 w 103"/>
                <a:gd name="T1" fmla="*/ 36 h 36"/>
                <a:gd name="T2" fmla="*/ 18 w 103"/>
                <a:gd name="T3" fmla="*/ 36 h 36"/>
                <a:gd name="T4" fmla="*/ 0 w 103"/>
                <a:gd name="T5" fmla="*/ 18 h 36"/>
                <a:gd name="T6" fmla="*/ 18 w 103"/>
                <a:gd name="T7" fmla="*/ 0 h 36"/>
                <a:gd name="T8" fmla="*/ 86 w 103"/>
                <a:gd name="T9" fmla="*/ 0 h 36"/>
                <a:gd name="T10" fmla="*/ 103 w 103"/>
                <a:gd name="T11" fmla="*/ 18 h 36"/>
                <a:gd name="T12" fmla="*/ 86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6" y="36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3" name="Freeform 43">
              <a:extLst>
                <a:ext uri="{FF2B5EF4-FFF2-40B4-BE49-F238E27FC236}">
                  <a16:creationId xmlns:a16="http://schemas.microsoft.com/office/drawing/2014/main" id="{9C71BC9B-FEA1-A87D-A000-18824FDF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1051" y="2606675"/>
              <a:ext cx="109538" cy="38100"/>
            </a:xfrm>
            <a:custGeom>
              <a:avLst/>
              <a:gdLst>
                <a:gd name="T0" fmla="*/ 85 w 103"/>
                <a:gd name="T1" fmla="*/ 36 h 36"/>
                <a:gd name="T2" fmla="*/ 17 w 103"/>
                <a:gd name="T3" fmla="*/ 36 h 36"/>
                <a:gd name="T4" fmla="*/ 0 w 103"/>
                <a:gd name="T5" fmla="*/ 18 h 36"/>
                <a:gd name="T6" fmla="*/ 17 w 103"/>
                <a:gd name="T7" fmla="*/ 0 h 36"/>
                <a:gd name="T8" fmla="*/ 85 w 103"/>
                <a:gd name="T9" fmla="*/ 0 h 36"/>
                <a:gd name="T10" fmla="*/ 103 w 103"/>
                <a:gd name="T11" fmla="*/ 18 h 36"/>
                <a:gd name="T12" fmla="*/ 85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85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8"/>
                    <a:pt x="95" y="36"/>
                    <a:pt x="8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4" name="Freeform 44">
              <a:extLst>
                <a:ext uri="{FF2B5EF4-FFF2-40B4-BE49-F238E27FC236}">
                  <a16:creationId xmlns:a16="http://schemas.microsoft.com/office/drawing/2014/main" id="{25A50890-CA44-C21B-70A1-D15FCC3FE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28801" y="2708275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5" name="Freeform 45">
              <a:extLst>
                <a:ext uri="{FF2B5EF4-FFF2-40B4-BE49-F238E27FC236}">
                  <a16:creationId xmlns:a16="http://schemas.microsoft.com/office/drawing/2014/main" id="{93FF45CB-0786-8E3D-9425-80096A4D6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54176" y="2708275"/>
              <a:ext cx="109538" cy="38100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7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6" name="Freeform 46">
              <a:extLst>
                <a:ext uri="{FF2B5EF4-FFF2-40B4-BE49-F238E27FC236}">
                  <a16:creationId xmlns:a16="http://schemas.microsoft.com/office/drawing/2014/main" id="{559D2D66-77F5-A9EE-ACB1-08F0CCA69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9551" y="2708275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7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7" name="Freeform 47">
              <a:extLst>
                <a:ext uri="{FF2B5EF4-FFF2-40B4-BE49-F238E27FC236}">
                  <a16:creationId xmlns:a16="http://schemas.microsoft.com/office/drawing/2014/main" id="{99BA50A6-0600-C888-5F14-1E442FD7B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4926" y="2708275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8" name="Freeform 48">
              <a:extLst>
                <a:ext uri="{FF2B5EF4-FFF2-40B4-BE49-F238E27FC236}">
                  <a16:creationId xmlns:a16="http://schemas.microsoft.com/office/drawing/2014/main" id="{C05FEDE8-3E92-5440-1AFC-081A7A6DE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1" y="2708275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69" name="Freeform 49">
              <a:extLst>
                <a:ext uri="{FF2B5EF4-FFF2-40B4-BE49-F238E27FC236}">
                  <a16:creationId xmlns:a16="http://schemas.microsoft.com/office/drawing/2014/main" id="{B93300EA-CF24-3F7B-A119-A0EA22C19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7263" y="2708275"/>
              <a:ext cx="109538" cy="38100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7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7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0" name="Freeform 50">
              <a:extLst>
                <a:ext uri="{FF2B5EF4-FFF2-40B4-BE49-F238E27FC236}">
                  <a16:creationId xmlns:a16="http://schemas.microsoft.com/office/drawing/2014/main" id="{4B8A817F-BDBB-8E14-47FE-763413526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1051" y="2708275"/>
              <a:ext cx="109538" cy="38100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7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7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7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785BB09E-B0B2-C202-4100-92B5EB0D6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28801" y="2811463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2" name="Freeform 52">
              <a:extLst>
                <a:ext uri="{FF2B5EF4-FFF2-40B4-BE49-F238E27FC236}">
                  <a16:creationId xmlns:a16="http://schemas.microsoft.com/office/drawing/2014/main" id="{65A1E354-B600-F8EC-3264-577DB9E9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54176" y="2811463"/>
              <a:ext cx="109538" cy="36512"/>
            </a:xfrm>
            <a:custGeom>
              <a:avLst/>
              <a:gdLst>
                <a:gd name="T0" fmla="*/ 86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6 w 103"/>
                <a:gd name="T9" fmla="*/ 0 h 35"/>
                <a:gd name="T10" fmla="*/ 103 w 103"/>
                <a:gd name="T11" fmla="*/ 18 h 35"/>
                <a:gd name="T12" fmla="*/ 86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6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3" name="Freeform 53">
              <a:extLst>
                <a:ext uri="{FF2B5EF4-FFF2-40B4-BE49-F238E27FC236}">
                  <a16:creationId xmlns:a16="http://schemas.microsoft.com/office/drawing/2014/main" id="{235A1D10-2D32-6B67-2FC3-DC4A24208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9551" y="2811463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7 w 103"/>
                <a:gd name="T3" fmla="*/ 35 h 35"/>
                <a:gd name="T4" fmla="*/ 0 w 103"/>
                <a:gd name="T5" fmla="*/ 18 h 35"/>
                <a:gd name="T6" fmla="*/ 17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4" name="Freeform 54">
              <a:extLst>
                <a:ext uri="{FF2B5EF4-FFF2-40B4-BE49-F238E27FC236}">
                  <a16:creationId xmlns:a16="http://schemas.microsoft.com/office/drawing/2014/main" id="{75F89D26-FFBB-33DA-D964-328F1164E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4926" y="2811463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5" name="Freeform 55">
              <a:extLst>
                <a:ext uri="{FF2B5EF4-FFF2-40B4-BE49-F238E27FC236}">
                  <a16:creationId xmlns:a16="http://schemas.microsoft.com/office/drawing/2014/main" id="{2C7A80E2-F57D-DC28-5684-87052EF0E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30301" y="2811463"/>
              <a:ext cx="109538" cy="36512"/>
            </a:xfrm>
            <a:custGeom>
              <a:avLst/>
              <a:gdLst>
                <a:gd name="T0" fmla="*/ 85 w 103"/>
                <a:gd name="T1" fmla="*/ 35 h 35"/>
                <a:gd name="T2" fmla="*/ 18 w 103"/>
                <a:gd name="T3" fmla="*/ 35 h 35"/>
                <a:gd name="T4" fmla="*/ 0 w 103"/>
                <a:gd name="T5" fmla="*/ 18 h 35"/>
                <a:gd name="T6" fmla="*/ 18 w 103"/>
                <a:gd name="T7" fmla="*/ 0 h 35"/>
                <a:gd name="T8" fmla="*/ 85 w 103"/>
                <a:gd name="T9" fmla="*/ 0 h 35"/>
                <a:gd name="T10" fmla="*/ 103 w 103"/>
                <a:gd name="T11" fmla="*/ 18 h 35"/>
                <a:gd name="T12" fmla="*/ 85 w 103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5">
                  <a:moveTo>
                    <a:pt x="85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3" y="8"/>
                    <a:pt x="103" y="18"/>
                  </a:cubicBezTo>
                  <a:cubicBezTo>
                    <a:pt x="103" y="27"/>
                    <a:pt x="95" y="35"/>
                    <a:pt x="85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6" name="Freeform 56">
              <a:extLst>
                <a:ext uri="{FF2B5EF4-FFF2-40B4-BE49-F238E27FC236}">
                  <a16:creationId xmlns:a16="http://schemas.microsoft.com/office/drawing/2014/main" id="{259B2A8E-D4E1-B981-794C-622934100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57238" y="2774950"/>
              <a:ext cx="484188" cy="485775"/>
            </a:xfrm>
            <a:custGeom>
              <a:avLst/>
              <a:gdLst>
                <a:gd name="T0" fmla="*/ 229 w 457"/>
                <a:gd name="T1" fmla="*/ 457 h 457"/>
                <a:gd name="T2" fmla="*/ 0 w 457"/>
                <a:gd name="T3" fmla="*/ 228 h 457"/>
                <a:gd name="T4" fmla="*/ 229 w 457"/>
                <a:gd name="T5" fmla="*/ 0 h 457"/>
                <a:gd name="T6" fmla="*/ 457 w 457"/>
                <a:gd name="T7" fmla="*/ 228 h 457"/>
                <a:gd name="T8" fmla="*/ 229 w 457"/>
                <a:gd name="T9" fmla="*/ 457 h 457"/>
                <a:gd name="T10" fmla="*/ 229 w 457"/>
                <a:gd name="T11" fmla="*/ 35 h 457"/>
                <a:gd name="T12" fmla="*/ 36 w 457"/>
                <a:gd name="T13" fmla="*/ 228 h 457"/>
                <a:gd name="T14" fmla="*/ 229 w 457"/>
                <a:gd name="T15" fmla="*/ 421 h 457"/>
                <a:gd name="T16" fmla="*/ 422 w 457"/>
                <a:gd name="T17" fmla="*/ 228 h 457"/>
                <a:gd name="T18" fmla="*/ 229 w 457"/>
                <a:gd name="T19" fmla="*/ 35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7" h="457">
                  <a:moveTo>
                    <a:pt x="229" y="457"/>
                  </a:moveTo>
                  <a:cubicBezTo>
                    <a:pt x="103" y="457"/>
                    <a:pt x="0" y="354"/>
                    <a:pt x="0" y="228"/>
                  </a:cubicBezTo>
                  <a:cubicBezTo>
                    <a:pt x="0" y="102"/>
                    <a:pt x="103" y="0"/>
                    <a:pt x="229" y="0"/>
                  </a:cubicBezTo>
                  <a:cubicBezTo>
                    <a:pt x="355" y="0"/>
                    <a:pt x="457" y="102"/>
                    <a:pt x="457" y="228"/>
                  </a:cubicBezTo>
                  <a:cubicBezTo>
                    <a:pt x="457" y="354"/>
                    <a:pt x="355" y="457"/>
                    <a:pt x="229" y="457"/>
                  </a:cubicBezTo>
                  <a:close/>
                  <a:moveTo>
                    <a:pt x="229" y="35"/>
                  </a:moveTo>
                  <a:cubicBezTo>
                    <a:pt x="122" y="35"/>
                    <a:pt x="36" y="122"/>
                    <a:pt x="36" y="228"/>
                  </a:cubicBezTo>
                  <a:cubicBezTo>
                    <a:pt x="36" y="335"/>
                    <a:pt x="122" y="421"/>
                    <a:pt x="229" y="421"/>
                  </a:cubicBezTo>
                  <a:cubicBezTo>
                    <a:pt x="335" y="421"/>
                    <a:pt x="422" y="335"/>
                    <a:pt x="422" y="228"/>
                  </a:cubicBezTo>
                  <a:cubicBezTo>
                    <a:pt x="422" y="122"/>
                    <a:pt x="335" y="35"/>
                    <a:pt x="22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  <p:sp>
          <p:nvSpPr>
            <p:cNvPr id="77" name="Freeform 57">
              <a:extLst>
                <a:ext uri="{FF2B5EF4-FFF2-40B4-BE49-F238E27FC236}">
                  <a16:creationId xmlns:a16="http://schemas.microsoft.com/office/drawing/2014/main" id="{EA4CC629-ED30-390C-E212-68C6565A7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9601" y="2944813"/>
              <a:ext cx="198438" cy="165100"/>
            </a:xfrm>
            <a:custGeom>
              <a:avLst/>
              <a:gdLst>
                <a:gd name="T0" fmla="*/ 56 w 187"/>
                <a:gd name="T1" fmla="*/ 155 h 155"/>
                <a:gd name="T2" fmla="*/ 54 w 187"/>
                <a:gd name="T3" fmla="*/ 155 h 155"/>
                <a:gd name="T4" fmla="*/ 41 w 187"/>
                <a:gd name="T5" fmla="*/ 147 h 155"/>
                <a:gd name="T6" fmla="*/ 6 w 187"/>
                <a:gd name="T7" fmla="*/ 94 h 155"/>
                <a:gd name="T8" fmla="*/ 10 w 187"/>
                <a:gd name="T9" fmla="*/ 70 h 155"/>
                <a:gd name="T10" fmla="*/ 35 w 187"/>
                <a:gd name="T11" fmla="*/ 74 h 155"/>
                <a:gd name="T12" fmla="*/ 58 w 187"/>
                <a:gd name="T13" fmla="*/ 109 h 155"/>
                <a:gd name="T14" fmla="*/ 154 w 187"/>
                <a:gd name="T15" fmla="*/ 7 h 155"/>
                <a:gd name="T16" fmla="*/ 179 w 187"/>
                <a:gd name="T17" fmla="*/ 7 h 155"/>
                <a:gd name="T18" fmla="*/ 180 w 187"/>
                <a:gd name="T19" fmla="*/ 32 h 155"/>
                <a:gd name="T20" fmla="*/ 68 w 187"/>
                <a:gd name="T21" fmla="*/ 149 h 155"/>
                <a:gd name="T22" fmla="*/ 56 w 187"/>
                <a:gd name="T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7" h="155">
                  <a:moveTo>
                    <a:pt x="56" y="155"/>
                  </a:moveTo>
                  <a:cubicBezTo>
                    <a:pt x="55" y="155"/>
                    <a:pt x="55" y="155"/>
                    <a:pt x="54" y="155"/>
                  </a:cubicBezTo>
                  <a:cubicBezTo>
                    <a:pt x="49" y="154"/>
                    <a:pt x="44" y="151"/>
                    <a:pt x="41" y="147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0" y="86"/>
                    <a:pt x="2" y="75"/>
                    <a:pt x="10" y="70"/>
                  </a:cubicBezTo>
                  <a:cubicBezTo>
                    <a:pt x="18" y="64"/>
                    <a:pt x="29" y="66"/>
                    <a:pt x="35" y="74"/>
                  </a:cubicBezTo>
                  <a:cubicBezTo>
                    <a:pt x="58" y="109"/>
                    <a:pt x="58" y="109"/>
                    <a:pt x="58" y="109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61" y="0"/>
                    <a:pt x="172" y="0"/>
                    <a:pt x="179" y="7"/>
                  </a:cubicBezTo>
                  <a:cubicBezTo>
                    <a:pt x="186" y="13"/>
                    <a:pt x="187" y="25"/>
                    <a:pt x="180" y="32"/>
                  </a:cubicBezTo>
                  <a:cubicBezTo>
                    <a:pt x="68" y="149"/>
                    <a:pt x="68" y="149"/>
                    <a:pt x="68" y="149"/>
                  </a:cubicBezTo>
                  <a:cubicBezTo>
                    <a:pt x="65" y="153"/>
                    <a:pt x="61" y="155"/>
                    <a:pt x="56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de-DE" sz="1645"/>
            </a:p>
          </p:txBody>
        </p:sp>
      </p:grpSp>
      <p:sp>
        <p:nvSpPr>
          <p:cNvPr id="78" name="TextBox 17">
            <a:extLst>
              <a:ext uri="{FF2B5EF4-FFF2-40B4-BE49-F238E27FC236}">
                <a16:creationId xmlns:a16="http://schemas.microsoft.com/office/drawing/2014/main" id="{A6F70199-9368-BAFD-F900-7744B8D36F91}"/>
              </a:ext>
            </a:extLst>
          </p:cNvPr>
          <p:cNvSpPr txBox="1"/>
          <p:nvPr/>
        </p:nvSpPr>
        <p:spPr>
          <a:xfrm>
            <a:off x="9250555" y="1300388"/>
            <a:ext cx="2262695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Clr>
                <a:srgbClr val="006AB2"/>
              </a:buClr>
              <a:buNone/>
            </a:pPr>
            <a:r>
              <a:rPr lang="fr-FR" b="1" dirty="0">
                <a:solidFill>
                  <a:schemeClr val="accent1"/>
                </a:solidFill>
              </a:rPr>
              <a:t>Calendrier</a:t>
            </a:r>
            <a:r>
              <a:rPr lang="fr-FR" b="1" dirty="0">
                <a:solidFill>
                  <a:srgbClr val="006AB2"/>
                </a:solidFill>
              </a:rPr>
              <a:t> </a:t>
            </a:r>
          </a:p>
        </p:txBody>
      </p:sp>
      <p:grpSp>
        <p:nvGrpSpPr>
          <p:cNvPr id="81" name="Gruppieren 11435">
            <a:extLst>
              <a:ext uri="{FF2B5EF4-FFF2-40B4-BE49-F238E27FC236}">
                <a16:creationId xmlns:a16="http://schemas.microsoft.com/office/drawing/2014/main" id="{DAAFD2E9-4053-A55E-3E92-D3528985A17A}"/>
              </a:ext>
            </a:extLst>
          </p:cNvPr>
          <p:cNvGrpSpPr>
            <a:grpSpLocks noChangeAspect="1"/>
          </p:cNvGrpSpPr>
          <p:nvPr/>
        </p:nvGrpSpPr>
        <p:grpSpPr>
          <a:xfrm>
            <a:off x="508505" y="3757121"/>
            <a:ext cx="357361" cy="487312"/>
            <a:chOff x="-742950" y="2119313"/>
            <a:chExt cx="890588" cy="1214438"/>
          </a:xfrm>
          <a:solidFill>
            <a:schemeClr val="bg1">
              <a:lumMod val="50000"/>
            </a:schemeClr>
          </a:solidFill>
        </p:grpSpPr>
        <p:sp>
          <p:nvSpPr>
            <p:cNvPr id="82" name="Freeform 187">
              <a:extLst>
                <a:ext uri="{FF2B5EF4-FFF2-40B4-BE49-F238E27FC236}">
                  <a16:creationId xmlns:a16="http://schemas.microsoft.com/office/drawing/2014/main" id="{836FB9D2-F825-B645-4C90-9EE847B40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2950" y="2119313"/>
              <a:ext cx="890588" cy="1214438"/>
            </a:xfrm>
            <a:custGeom>
              <a:avLst/>
              <a:gdLst>
                <a:gd name="T0" fmla="*/ 893 w 893"/>
                <a:gd name="T1" fmla="*/ 216 h 1217"/>
                <a:gd name="T2" fmla="*/ 891 w 893"/>
                <a:gd name="T3" fmla="*/ 209 h 1217"/>
                <a:gd name="T4" fmla="*/ 891 w 893"/>
                <a:gd name="T5" fmla="*/ 207 h 1217"/>
                <a:gd name="T6" fmla="*/ 886 w 893"/>
                <a:gd name="T7" fmla="*/ 195 h 1217"/>
                <a:gd name="T8" fmla="*/ 698 w 893"/>
                <a:gd name="T9" fmla="*/ 5 h 1217"/>
                <a:gd name="T10" fmla="*/ 686 w 893"/>
                <a:gd name="T11" fmla="*/ 0 h 1217"/>
                <a:gd name="T12" fmla="*/ 17 w 893"/>
                <a:gd name="T13" fmla="*/ 0 h 1217"/>
                <a:gd name="T14" fmla="*/ 0 w 893"/>
                <a:gd name="T15" fmla="*/ 17 h 1217"/>
                <a:gd name="T16" fmla="*/ 0 w 893"/>
                <a:gd name="T17" fmla="*/ 820 h 1217"/>
                <a:gd name="T18" fmla="*/ 17 w 893"/>
                <a:gd name="T19" fmla="*/ 837 h 1217"/>
                <a:gd name="T20" fmla="*/ 34 w 893"/>
                <a:gd name="T21" fmla="*/ 820 h 1217"/>
                <a:gd name="T22" fmla="*/ 34 w 893"/>
                <a:gd name="T23" fmla="*/ 34 h 1217"/>
                <a:gd name="T24" fmla="*/ 669 w 893"/>
                <a:gd name="T25" fmla="*/ 34 h 1217"/>
                <a:gd name="T26" fmla="*/ 669 w 893"/>
                <a:gd name="T27" fmla="*/ 216 h 1217"/>
                <a:gd name="T28" fmla="*/ 686 w 893"/>
                <a:gd name="T29" fmla="*/ 233 h 1217"/>
                <a:gd name="T30" fmla="*/ 857 w 893"/>
                <a:gd name="T31" fmla="*/ 233 h 1217"/>
                <a:gd name="T32" fmla="*/ 857 w 893"/>
                <a:gd name="T33" fmla="*/ 1183 h 1217"/>
                <a:gd name="T34" fmla="*/ 263 w 893"/>
                <a:gd name="T35" fmla="*/ 1183 h 1217"/>
                <a:gd name="T36" fmla="*/ 246 w 893"/>
                <a:gd name="T37" fmla="*/ 1200 h 1217"/>
                <a:gd name="T38" fmla="*/ 263 w 893"/>
                <a:gd name="T39" fmla="*/ 1217 h 1217"/>
                <a:gd name="T40" fmla="*/ 874 w 893"/>
                <a:gd name="T41" fmla="*/ 1217 h 1217"/>
                <a:gd name="T42" fmla="*/ 891 w 893"/>
                <a:gd name="T43" fmla="*/ 1200 h 1217"/>
                <a:gd name="T44" fmla="*/ 891 w 893"/>
                <a:gd name="T45" fmla="*/ 224 h 1217"/>
                <a:gd name="T46" fmla="*/ 893 w 893"/>
                <a:gd name="T47" fmla="*/ 216 h 1217"/>
                <a:gd name="T48" fmla="*/ 703 w 893"/>
                <a:gd name="T49" fmla="*/ 58 h 1217"/>
                <a:gd name="T50" fmla="*/ 843 w 893"/>
                <a:gd name="T51" fmla="*/ 200 h 1217"/>
                <a:gd name="T52" fmla="*/ 703 w 893"/>
                <a:gd name="T53" fmla="*/ 200 h 1217"/>
                <a:gd name="T54" fmla="*/ 703 w 893"/>
                <a:gd name="T55" fmla="*/ 58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93" h="1217">
                  <a:moveTo>
                    <a:pt x="893" y="216"/>
                  </a:moveTo>
                  <a:cubicBezTo>
                    <a:pt x="893" y="214"/>
                    <a:pt x="892" y="211"/>
                    <a:pt x="891" y="209"/>
                  </a:cubicBezTo>
                  <a:cubicBezTo>
                    <a:pt x="891" y="207"/>
                    <a:pt x="891" y="207"/>
                    <a:pt x="891" y="207"/>
                  </a:cubicBezTo>
                  <a:cubicBezTo>
                    <a:pt x="891" y="202"/>
                    <a:pt x="889" y="198"/>
                    <a:pt x="886" y="195"/>
                  </a:cubicBezTo>
                  <a:cubicBezTo>
                    <a:pt x="698" y="5"/>
                    <a:pt x="698" y="5"/>
                    <a:pt x="698" y="5"/>
                  </a:cubicBezTo>
                  <a:cubicBezTo>
                    <a:pt x="694" y="2"/>
                    <a:pt x="690" y="0"/>
                    <a:pt x="68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820"/>
                    <a:pt x="0" y="820"/>
                    <a:pt x="0" y="820"/>
                  </a:cubicBezTo>
                  <a:cubicBezTo>
                    <a:pt x="0" y="830"/>
                    <a:pt x="8" y="837"/>
                    <a:pt x="17" y="837"/>
                  </a:cubicBezTo>
                  <a:cubicBezTo>
                    <a:pt x="26" y="837"/>
                    <a:pt x="34" y="830"/>
                    <a:pt x="34" y="820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669" y="34"/>
                    <a:pt x="669" y="34"/>
                    <a:pt x="669" y="34"/>
                  </a:cubicBezTo>
                  <a:cubicBezTo>
                    <a:pt x="669" y="216"/>
                    <a:pt x="669" y="216"/>
                    <a:pt x="669" y="216"/>
                  </a:cubicBezTo>
                  <a:cubicBezTo>
                    <a:pt x="669" y="226"/>
                    <a:pt x="677" y="233"/>
                    <a:pt x="686" y="233"/>
                  </a:cubicBezTo>
                  <a:cubicBezTo>
                    <a:pt x="857" y="233"/>
                    <a:pt x="857" y="233"/>
                    <a:pt x="857" y="233"/>
                  </a:cubicBezTo>
                  <a:cubicBezTo>
                    <a:pt x="857" y="1183"/>
                    <a:pt x="857" y="1183"/>
                    <a:pt x="857" y="1183"/>
                  </a:cubicBezTo>
                  <a:cubicBezTo>
                    <a:pt x="263" y="1183"/>
                    <a:pt x="263" y="1183"/>
                    <a:pt x="263" y="1183"/>
                  </a:cubicBezTo>
                  <a:cubicBezTo>
                    <a:pt x="254" y="1183"/>
                    <a:pt x="246" y="1191"/>
                    <a:pt x="246" y="1200"/>
                  </a:cubicBezTo>
                  <a:cubicBezTo>
                    <a:pt x="246" y="1210"/>
                    <a:pt x="254" y="1217"/>
                    <a:pt x="263" y="1217"/>
                  </a:cubicBezTo>
                  <a:cubicBezTo>
                    <a:pt x="874" y="1217"/>
                    <a:pt x="874" y="1217"/>
                    <a:pt x="874" y="1217"/>
                  </a:cubicBezTo>
                  <a:cubicBezTo>
                    <a:pt x="883" y="1217"/>
                    <a:pt x="891" y="1210"/>
                    <a:pt x="891" y="1200"/>
                  </a:cubicBezTo>
                  <a:cubicBezTo>
                    <a:pt x="891" y="224"/>
                    <a:pt x="891" y="224"/>
                    <a:pt x="891" y="224"/>
                  </a:cubicBezTo>
                  <a:cubicBezTo>
                    <a:pt x="892" y="221"/>
                    <a:pt x="893" y="219"/>
                    <a:pt x="893" y="216"/>
                  </a:cubicBezTo>
                  <a:close/>
                  <a:moveTo>
                    <a:pt x="703" y="58"/>
                  </a:moveTo>
                  <a:cubicBezTo>
                    <a:pt x="843" y="200"/>
                    <a:pt x="843" y="200"/>
                    <a:pt x="843" y="200"/>
                  </a:cubicBezTo>
                  <a:cubicBezTo>
                    <a:pt x="703" y="200"/>
                    <a:pt x="703" y="200"/>
                    <a:pt x="703" y="200"/>
                  </a:cubicBezTo>
                  <a:lnTo>
                    <a:pt x="70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188">
              <a:extLst>
                <a:ext uri="{FF2B5EF4-FFF2-40B4-BE49-F238E27FC236}">
                  <a16:creationId xmlns:a16="http://schemas.microsoft.com/office/drawing/2014/main" id="{15FC078A-5209-E6A2-2A62-01020A135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625726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189">
              <a:extLst>
                <a:ext uri="{FF2B5EF4-FFF2-40B4-BE49-F238E27FC236}">
                  <a16:creationId xmlns:a16="http://schemas.microsoft.com/office/drawing/2014/main" id="{7DB905CE-36A1-649A-1359-410B4D117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747963"/>
              <a:ext cx="320675" cy="33338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7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7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190">
              <a:extLst>
                <a:ext uri="{FF2B5EF4-FFF2-40B4-BE49-F238E27FC236}">
                  <a16:creationId xmlns:a16="http://schemas.microsoft.com/office/drawing/2014/main" id="{DA2795CB-490F-0677-6057-849966179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505076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191">
              <a:extLst>
                <a:ext uri="{FF2B5EF4-FFF2-40B4-BE49-F238E27FC236}">
                  <a16:creationId xmlns:a16="http://schemas.microsoft.com/office/drawing/2014/main" id="{6DF5C05A-0DD4-73A9-1B1E-3BA7AE657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382838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192">
              <a:extLst>
                <a:ext uri="{FF2B5EF4-FFF2-40B4-BE49-F238E27FC236}">
                  <a16:creationId xmlns:a16="http://schemas.microsoft.com/office/drawing/2014/main" id="{F31485F1-8576-D029-7A27-526A19234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870201"/>
              <a:ext cx="320675" cy="31750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6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6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6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193">
              <a:extLst>
                <a:ext uri="{FF2B5EF4-FFF2-40B4-BE49-F238E27FC236}">
                  <a16:creationId xmlns:a16="http://schemas.microsoft.com/office/drawing/2014/main" id="{67CE8EC4-7250-9A7A-35B8-C958CDB2F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990851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7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194">
              <a:extLst>
                <a:ext uri="{FF2B5EF4-FFF2-40B4-BE49-F238E27FC236}">
                  <a16:creationId xmlns:a16="http://schemas.microsoft.com/office/drawing/2014/main" id="{0B261728-2A36-85B8-1E2E-F3BBE00BD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3111501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195">
              <a:extLst>
                <a:ext uri="{FF2B5EF4-FFF2-40B4-BE49-F238E27FC236}">
                  <a16:creationId xmlns:a16="http://schemas.microsoft.com/office/drawing/2014/main" id="{627A25BA-ED31-0691-9CB8-351756B73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349501"/>
              <a:ext cx="107950" cy="92075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196">
              <a:extLst>
                <a:ext uri="{FF2B5EF4-FFF2-40B4-BE49-F238E27FC236}">
                  <a16:creationId xmlns:a16="http://schemas.microsoft.com/office/drawing/2014/main" id="{1B13CE4B-AE30-B0EE-471F-F6EE754D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473326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5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197">
              <a:extLst>
                <a:ext uri="{FF2B5EF4-FFF2-40B4-BE49-F238E27FC236}">
                  <a16:creationId xmlns:a16="http://schemas.microsoft.com/office/drawing/2014/main" id="{82DDAA42-8702-F0EA-B27E-B9019C125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590801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198">
              <a:extLst>
                <a:ext uri="{FF2B5EF4-FFF2-40B4-BE49-F238E27FC236}">
                  <a16:creationId xmlns:a16="http://schemas.microsoft.com/office/drawing/2014/main" id="{F3CED7B7-6813-D53A-69C6-426DDCB30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843213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199">
              <a:extLst>
                <a:ext uri="{FF2B5EF4-FFF2-40B4-BE49-F238E27FC236}">
                  <a16:creationId xmlns:a16="http://schemas.microsoft.com/office/drawing/2014/main" id="{AD1C2A87-F87F-D533-3266-EF68A4F8F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3076576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2" name="ZoneTexte 111">
            <a:extLst>
              <a:ext uri="{FF2B5EF4-FFF2-40B4-BE49-F238E27FC236}">
                <a16:creationId xmlns:a16="http://schemas.microsoft.com/office/drawing/2014/main" id="{9DFEB44E-144F-42E6-9221-5B98C66094D7}"/>
              </a:ext>
            </a:extLst>
          </p:cNvPr>
          <p:cNvSpPr txBox="1"/>
          <p:nvPr/>
        </p:nvSpPr>
        <p:spPr>
          <a:xfrm>
            <a:off x="8993026" y="1804460"/>
            <a:ext cx="2914696" cy="156966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Octobre : envoi des retours sur la grille des critères </a:t>
            </a:r>
          </a:p>
          <a:p>
            <a:endParaRPr lang="fr-FR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Novembre : consolidation de l’ensemble des retours</a:t>
            </a:r>
          </a:p>
          <a:p>
            <a:endParaRPr lang="fr-FR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écembre : mise en concertation de la grille des critères consolidée</a:t>
            </a:r>
          </a:p>
        </p:txBody>
      </p:sp>
      <p:cxnSp>
        <p:nvCxnSpPr>
          <p:cNvPr id="113" name="Connecteur droit avec flèche 112">
            <a:extLst>
              <a:ext uri="{FF2B5EF4-FFF2-40B4-BE49-F238E27FC236}">
                <a16:creationId xmlns:a16="http://schemas.microsoft.com/office/drawing/2014/main" id="{1115DFEC-0DBE-4391-BDF7-E9B3FEDC6FC2}"/>
              </a:ext>
            </a:extLst>
          </p:cNvPr>
          <p:cNvCxnSpPr>
            <a:cxnSpLocks/>
          </p:cNvCxnSpPr>
          <p:nvPr/>
        </p:nvCxnSpPr>
        <p:spPr>
          <a:xfrm>
            <a:off x="8807949" y="1715273"/>
            <a:ext cx="0" cy="1980000"/>
          </a:xfrm>
          <a:prstGeom prst="straightConnector1">
            <a:avLst/>
          </a:prstGeom>
          <a:ln w="19050" cap="flat">
            <a:solidFill>
              <a:schemeClr val="bg1">
                <a:lumMod val="50000"/>
              </a:schemeClr>
            </a:solidFill>
            <a:prstDash val="solid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>
            <a:extLst>
              <a:ext uri="{FF2B5EF4-FFF2-40B4-BE49-F238E27FC236}">
                <a16:creationId xmlns:a16="http://schemas.microsoft.com/office/drawing/2014/main" id="{84BA0F58-E543-408C-8517-8AF2F7C04B93}"/>
              </a:ext>
            </a:extLst>
          </p:cNvPr>
          <p:cNvSpPr/>
          <p:nvPr/>
        </p:nvSpPr>
        <p:spPr>
          <a:xfrm>
            <a:off x="8678009" y="1825151"/>
            <a:ext cx="259879" cy="25987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6ED49C62-9000-403D-89DB-A095D4FF9D8E}"/>
              </a:ext>
            </a:extLst>
          </p:cNvPr>
          <p:cNvSpPr/>
          <p:nvPr/>
        </p:nvSpPr>
        <p:spPr>
          <a:xfrm>
            <a:off x="8678008" y="2416675"/>
            <a:ext cx="259879" cy="25987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55E4F4CB-FAC1-4B3D-BEC7-2E86264D68D1}"/>
              </a:ext>
            </a:extLst>
          </p:cNvPr>
          <p:cNvSpPr/>
          <p:nvPr/>
        </p:nvSpPr>
        <p:spPr>
          <a:xfrm>
            <a:off x="8678008" y="3089463"/>
            <a:ext cx="259879" cy="259879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fr-FR" sz="1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4" name="TextBox 17">
            <a:extLst>
              <a:ext uri="{FF2B5EF4-FFF2-40B4-BE49-F238E27FC236}">
                <a16:creationId xmlns:a16="http://schemas.microsoft.com/office/drawing/2014/main" id="{9B41B1B1-FFC3-4102-BE69-C6F6B0301AEA}"/>
              </a:ext>
            </a:extLst>
          </p:cNvPr>
          <p:cNvSpPr txBox="1"/>
          <p:nvPr/>
        </p:nvSpPr>
        <p:spPr>
          <a:xfrm>
            <a:off x="1085634" y="3482801"/>
            <a:ext cx="7093166" cy="35394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600"/>
              </a:spcBef>
              <a:buClr>
                <a:srgbClr val="006AB2"/>
              </a:buClr>
              <a:buNone/>
            </a:pPr>
            <a:r>
              <a:rPr lang="fr-FR" b="1" dirty="0">
                <a:solidFill>
                  <a:srgbClr val="006AB2"/>
                </a:solidFill>
              </a:rPr>
              <a:t>Comment participer ? </a:t>
            </a:r>
          </a:p>
          <a:p>
            <a:pPr marL="342900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Se manifester auprès de la cellule éthique de la DNS pour recevoir la grille de critères (</a:t>
            </a:r>
            <a:r>
              <a:rPr lang="fr-FR" sz="1400" b="1" dirty="0">
                <a:solidFill>
                  <a:srgbClr val="006AB2"/>
                </a:solidFill>
                <a:hlinkClick r:id="rId3"/>
              </a:rPr>
              <a:t>brigitte.seroussi@sante.gouv.fr</a:t>
            </a:r>
            <a:r>
              <a:rPr lang="fr-FR" sz="1400" b="1" dirty="0">
                <a:solidFill>
                  <a:srgbClr val="006AB2"/>
                </a:solidFill>
              </a:rPr>
              <a:t> ; </a:t>
            </a:r>
            <a:r>
              <a:rPr lang="fr-FR" sz="1400" b="1" dirty="0">
                <a:solidFill>
                  <a:srgbClr val="006AB2"/>
                </a:solidFill>
                <a:hlinkClick r:id="rId4"/>
              </a:rPr>
              <a:t>caroline.courde.ext@esante.gouv.fr</a:t>
            </a:r>
            <a:r>
              <a:rPr lang="fr-FR" sz="1400" b="1" dirty="0">
                <a:solidFill>
                  <a:srgbClr val="006AB2"/>
                </a:solidFill>
              </a:rPr>
              <a:t>) </a:t>
            </a:r>
          </a:p>
          <a:p>
            <a:pPr marL="342900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Compléter la grille de critères en répondant à 3 questions : </a:t>
            </a:r>
          </a:p>
          <a:p>
            <a:pPr marL="1074420" lvl="4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Est-ce que le critère est compréhensible ? Est-ce que la formulation est claire ?</a:t>
            </a:r>
          </a:p>
          <a:p>
            <a:pPr marL="1074420" lvl="4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Est-ce que le critère vous paraît pertinent ?</a:t>
            </a:r>
          </a:p>
          <a:p>
            <a:pPr marL="1074420" lvl="4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En tant que structure, quelle est votre auto-évaluation sur le critère (échelle de 1 pour « non » à 5 pour « oui »)</a:t>
            </a:r>
          </a:p>
          <a:p>
            <a:pPr marL="342900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Proposer des critères manquants si nécessaire</a:t>
            </a:r>
          </a:p>
          <a:p>
            <a:pPr marL="342900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r>
              <a:rPr lang="fr-FR" sz="1400" b="1" dirty="0">
                <a:solidFill>
                  <a:srgbClr val="006AB2"/>
                </a:solidFill>
              </a:rPr>
              <a:t>Renvoyer la grille complétée à la cellule éthique de la DNS</a:t>
            </a:r>
          </a:p>
          <a:p>
            <a:pPr marL="891540" lvl="3" indent="-342900" algn="just">
              <a:spcBef>
                <a:spcPts val="600"/>
              </a:spcBef>
              <a:buClr>
                <a:srgbClr val="006AB2"/>
              </a:buClr>
              <a:buFont typeface="+mj-lt"/>
              <a:buAutoNum type="arabicPeriod"/>
            </a:pPr>
            <a:endParaRPr lang="fr-FR" sz="1400" b="1" dirty="0">
              <a:solidFill>
                <a:srgbClr val="006AB2"/>
              </a:solidFill>
            </a:endParaRPr>
          </a:p>
        </p:txBody>
      </p:sp>
      <p:grpSp>
        <p:nvGrpSpPr>
          <p:cNvPr id="137" name="Gruppieren 11435">
            <a:extLst>
              <a:ext uri="{FF2B5EF4-FFF2-40B4-BE49-F238E27FC236}">
                <a16:creationId xmlns:a16="http://schemas.microsoft.com/office/drawing/2014/main" id="{C82FAC9F-DBC5-4BCA-B2C4-3271022C5FCF}"/>
              </a:ext>
            </a:extLst>
          </p:cNvPr>
          <p:cNvGrpSpPr>
            <a:grpSpLocks noChangeAspect="1"/>
          </p:cNvGrpSpPr>
          <p:nvPr/>
        </p:nvGrpSpPr>
        <p:grpSpPr>
          <a:xfrm>
            <a:off x="8561774" y="3882509"/>
            <a:ext cx="357361" cy="487312"/>
            <a:chOff x="-742950" y="2119313"/>
            <a:chExt cx="890588" cy="1214438"/>
          </a:xfrm>
          <a:solidFill>
            <a:schemeClr val="bg1">
              <a:lumMod val="50000"/>
            </a:schemeClr>
          </a:solidFill>
        </p:grpSpPr>
        <p:sp>
          <p:nvSpPr>
            <p:cNvPr id="138" name="Freeform 187">
              <a:extLst>
                <a:ext uri="{FF2B5EF4-FFF2-40B4-BE49-F238E27FC236}">
                  <a16:creationId xmlns:a16="http://schemas.microsoft.com/office/drawing/2014/main" id="{D25ACE6C-2AE9-4C15-81CA-B6787A446E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2950" y="2119313"/>
              <a:ext cx="890588" cy="1214438"/>
            </a:xfrm>
            <a:custGeom>
              <a:avLst/>
              <a:gdLst>
                <a:gd name="T0" fmla="*/ 893 w 893"/>
                <a:gd name="T1" fmla="*/ 216 h 1217"/>
                <a:gd name="T2" fmla="*/ 891 w 893"/>
                <a:gd name="T3" fmla="*/ 209 h 1217"/>
                <a:gd name="T4" fmla="*/ 891 w 893"/>
                <a:gd name="T5" fmla="*/ 207 h 1217"/>
                <a:gd name="T6" fmla="*/ 886 w 893"/>
                <a:gd name="T7" fmla="*/ 195 h 1217"/>
                <a:gd name="T8" fmla="*/ 698 w 893"/>
                <a:gd name="T9" fmla="*/ 5 h 1217"/>
                <a:gd name="T10" fmla="*/ 686 w 893"/>
                <a:gd name="T11" fmla="*/ 0 h 1217"/>
                <a:gd name="T12" fmla="*/ 17 w 893"/>
                <a:gd name="T13" fmla="*/ 0 h 1217"/>
                <a:gd name="T14" fmla="*/ 0 w 893"/>
                <a:gd name="T15" fmla="*/ 17 h 1217"/>
                <a:gd name="T16" fmla="*/ 0 w 893"/>
                <a:gd name="T17" fmla="*/ 820 h 1217"/>
                <a:gd name="T18" fmla="*/ 17 w 893"/>
                <a:gd name="T19" fmla="*/ 837 h 1217"/>
                <a:gd name="T20" fmla="*/ 34 w 893"/>
                <a:gd name="T21" fmla="*/ 820 h 1217"/>
                <a:gd name="T22" fmla="*/ 34 w 893"/>
                <a:gd name="T23" fmla="*/ 34 h 1217"/>
                <a:gd name="T24" fmla="*/ 669 w 893"/>
                <a:gd name="T25" fmla="*/ 34 h 1217"/>
                <a:gd name="T26" fmla="*/ 669 w 893"/>
                <a:gd name="T27" fmla="*/ 216 h 1217"/>
                <a:gd name="T28" fmla="*/ 686 w 893"/>
                <a:gd name="T29" fmla="*/ 233 h 1217"/>
                <a:gd name="T30" fmla="*/ 857 w 893"/>
                <a:gd name="T31" fmla="*/ 233 h 1217"/>
                <a:gd name="T32" fmla="*/ 857 w 893"/>
                <a:gd name="T33" fmla="*/ 1183 h 1217"/>
                <a:gd name="T34" fmla="*/ 263 w 893"/>
                <a:gd name="T35" fmla="*/ 1183 h 1217"/>
                <a:gd name="T36" fmla="*/ 246 w 893"/>
                <a:gd name="T37" fmla="*/ 1200 h 1217"/>
                <a:gd name="T38" fmla="*/ 263 w 893"/>
                <a:gd name="T39" fmla="*/ 1217 h 1217"/>
                <a:gd name="T40" fmla="*/ 874 w 893"/>
                <a:gd name="T41" fmla="*/ 1217 h 1217"/>
                <a:gd name="T42" fmla="*/ 891 w 893"/>
                <a:gd name="T43" fmla="*/ 1200 h 1217"/>
                <a:gd name="T44" fmla="*/ 891 w 893"/>
                <a:gd name="T45" fmla="*/ 224 h 1217"/>
                <a:gd name="T46" fmla="*/ 893 w 893"/>
                <a:gd name="T47" fmla="*/ 216 h 1217"/>
                <a:gd name="T48" fmla="*/ 703 w 893"/>
                <a:gd name="T49" fmla="*/ 58 h 1217"/>
                <a:gd name="T50" fmla="*/ 843 w 893"/>
                <a:gd name="T51" fmla="*/ 200 h 1217"/>
                <a:gd name="T52" fmla="*/ 703 w 893"/>
                <a:gd name="T53" fmla="*/ 200 h 1217"/>
                <a:gd name="T54" fmla="*/ 703 w 893"/>
                <a:gd name="T55" fmla="*/ 58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93" h="1217">
                  <a:moveTo>
                    <a:pt x="893" y="216"/>
                  </a:moveTo>
                  <a:cubicBezTo>
                    <a:pt x="893" y="214"/>
                    <a:pt x="892" y="211"/>
                    <a:pt x="891" y="209"/>
                  </a:cubicBezTo>
                  <a:cubicBezTo>
                    <a:pt x="891" y="207"/>
                    <a:pt x="891" y="207"/>
                    <a:pt x="891" y="207"/>
                  </a:cubicBezTo>
                  <a:cubicBezTo>
                    <a:pt x="891" y="202"/>
                    <a:pt x="889" y="198"/>
                    <a:pt x="886" y="195"/>
                  </a:cubicBezTo>
                  <a:cubicBezTo>
                    <a:pt x="698" y="5"/>
                    <a:pt x="698" y="5"/>
                    <a:pt x="698" y="5"/>
                  </a:cubicBezTo>
                  <a:cubicBezTo>
                    <a:pt x="694" y="2"/>
                    <a:pt x="690" y="0"/>
                    <a:pt x="68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820"/>
                    <a:pt x="0" y="820"/>
                    <a:pt x="0" y="820"/>
                  </a:cubicBezTo>
                  <a:cubicBezTo>
                    <a:pt x="0" y="830"/>
                    <a:pt x="8" y="837"/>
                    <a:pt x="17" y="837"/>
                  </a:cubicBezTo>
                  <a:cubicBezTo>
                    <a:pt x="26" y="837"/>
                    <a:pt x="34" y="830"/>
                    <a:pt x="34" y="820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669" y="34"/>
                    <a:pt x="669" y="34"/>
                    <a:pt x="669" y="34"/>
                  </a:cubicBezTo>
                  <a:cubicBezTo>
                    <a:pt x="669" y="216"/>
                    <a:pt x="669" y="216"/>
                    <a:pt x="669" y="216"/>
                  </a:cubicBezTo>
                  <a:cubicBezTo>
                    <a:pt x="669" y="226"/>
                    <a:pt x="677" y="233"/>
                    <a:pt x="686" y="233"/>
                  </a:cubicBezTo>
                  <a:cubicBezTo>
                    <a:pt x="857" y="233"/>
                    <a:pt x="857" y="233"/>
                    <a:pt x="857" y="233"/>
                  </a:cubicBezTo>
                  <a:cubicBezTo>
                    <a:pt x="857" y="1183"/>
                    <a:pt x="857" y="1183"/>
                    <a:pt x="857" y="1183"/>
                  </a:cubicBezTo>
                  <a:cubicBezTo>
                    <a:pt x="263" y="1183"/>
                    <a:pt x="263" y="1183"/>
                    <a:pt x="263" y="1183"/>
                  </a:cubicBezTo>
                  <a:cubicBezTo>
                    <a:pt x="254" y="1183"/>
                    <a:pt x="246" y="1191"/>
                    <a:pt x="246" y="1200"/>
                  </a:cubicBezTo>
                  <a:cubicBezTo>
                    <a:pt x="246" y="1210"/>
                    <a:pt x="254" y="1217"/>
                    <a:pt x="263" y="1217"/>
                  </a:cubicBezTo>
                  <a:cubicBezTo>
                    <a:pt x="874" y="1217"/>
                    <a:pt x="874" y="1217"/>
                    <a:pt x="874" y="1217"/>
                  </a:cubicBezTo>
                  <a:cubicBezTo>
                    <a:pt x="883" y="1217"/>
                    <a:pt x="891" y="1210"/>
                    <a:pt x="891" y="1200"/>
                  </a:cubicBezTo>
                  <a:cubicBezTo>
                    <a:pt x="891" y="224"/>
                    <a:pt x="891" y="224"/>
                    <a:pt x="891" y="224"/>
                  </a:cubicBezTo>
                  <a:cubicBezTo>
                    <a:pt x="892" y="221"/>
                    <a:pt x="893" y="219"/>
                    <a:pt x="893" y="216"/>
                  </a:cubicBezTo>
                  <a:close/>
                  <a:moveTo>
                    <a:pt x="703" y="58"/>
                  </a:moveTo>
                  <a:cubicBezTo>
                    <a:pt x="843" y="200"/>
                    <a:pt x="843" y="200"/>
                    <a:pt x="843" y="200"/>
                  </a:cubicBezTo>
                  <a:cubicBezTo>
                    <a:pt x="703" y="200"/>
                    <a:pt x="703" y="200"/>
                    <a:pt x="703" y="200"/>
                  </a:cubicBezTo>
                  <a:lnTo>
                    <a:pt x="70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188">
              <a:extLst>
                <a:ext uri="{FF2B5EF4-FFF2-40B4-BE49-F238E27FC236}">
                  <a16:creationId xmlns:a16="http://schemas.microsoft.com/office/drawing/2014/main" id="{7CF67DE2-706C-4A25-9927-6FDAAD26B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625726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189">
              <a:extLst>
                <a:ext uri="{FF2B5EF4-FFF2-40B4-BE49-F238E27FC236}">
                  <a16:creationId xmlns:a16="http://schemas.microsoft.com/office/drawing/2014/main" id="{518E6F68-E06D-430C-A714-8B8C7E9DA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747963"/>
              <a:ext cx="320675" cy="33338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7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7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90">
              <a:extLst>
                <a:ext uri="{FF2B5EF4-FFF2-40B4-BE49-F238E27FC236}">
                  <a16:creationId xmlns:a16="http://schemas.microsoft.com/office/drawing/2014/main" id="{17E29AE5-22D0-40CF-AF73-23AAC6495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505076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91">
              <a:extLst>
                <a:ext uri="{FF2B5EF4-FFF2-40B4-BE49-F238E27FC236}">
                  <a16:creationId xmlns:a16="http://schemas.microsoft.com/office/drawing/2014/main" id="{3614CD56-8EA9-4A22-BBB1-BC7B076E3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382838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92">
              <a:extLst>
                <a:ext uri="{FF2B5EF4-FFF2-40B4-BE49-F238E27FC236}">
                  <a16:creationId xmlns:a16="http://schemas.microsoft.com/office/drawing/2014/main" id="{060B7649-3753-4625-B193-019AD4B1A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870201"/>
              <a:ext cx="320675" cy="31750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6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6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6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93">
              <a:extLst>
                <a:ext uri="{FF2B5EF4-FFF2-40B4-BE49-F238E27FC236}">
                  <a16:creationId xmlns:a16="http://schemas.microsoft.com/office/drawing/2014/main" id="{D10373FF-5E69-4DEB-B6CC-418C29BE3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990851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7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94">
              <a:extLst>
                <a:ext uri="{FF2B5EF4-FFF2-40B4-BE49-F238E27FC236}">
                  <a16:creationId xmlns:a16="http://schemas.microsoft.com/office/drawing/2014/main" id="{7327E978-E490-4208-904F-2E2F6F2D7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3111501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95">
              <a:extLst>
                <a:ext uri="{FF2B5EF4-FFF2-40B4-BE49-F238E27FC236}">
                  <a16:creationId xmlns:a16="http://schemas.microsoft.com/office/drawing/2014/main" id="{8B05CE78-9CF3-4771-B943-2754FD0A0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349501"/>
              <a:ext cx="107950" cy="92075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96">
              <a:extLst>
                <a:ext uri="{FF2B5EF4-FFF2-40B4-BE49-F238E27FC236}">
                  <a16:creationId xmlns:a16="http://schemas.microsoft.com/office/drawing/2014/main" id="{E0A83F50-3D7F-402E-B42A-EBE0DD8AF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473326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5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97">
              <a:extLst>
                <a:ext uri="{FF2B5EF4-FFF2-40B4-BE49-F238E27FC236}">
                  <a16:creationId xmlns:a16="http://schemas.microsoft.com/office/drawing/2014/main" id="{34E48D6B-FF35-4368-A6DB-40FEA0079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590801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98">
              <a:extLst>
                <a:ext uri="{FF2B5EF4-FFF2-40B4-BE49-F238E27FC236}">
                  <a16:creationId xmlns:a16="http://schemas.microsoft.com/office/drawing/2014/main" id="{CE86B33F-6DBE-4E07-AA67-830628898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843213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99">
              <a:extLst>
                <a:ext uri="{FF2B5EF4-FFF2-40B4-BE49-F238E27FC236}">
                  <a16:creationId xmlns:a16="http://schemas.microsoft.com/office/drawing/2014/main" id="{7EFAF0C6-ED7B-4273-99A7-B9F7A88AC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3076576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1" name="TextBox 17">
            <a:extLst>
              <a:ext uri="{FF2B5EF4-FFF2-40B4-BE49-F238E27FC236}">
                <a16:creationId xmlns:a16="http://schemas.microsoft.com/office/drawing/2014/main" id="{B92024AA-9EEA-44F1-AC82-B47476DE6352}"/>
              </a:ext>
            </a:extLst>
          </p:cNvPr>
          <p:cNvSpPr txBox="1"/>
          <p:nvPr/>
        </p:nvSpPr>
        <p:spPr>
          <a:xfrm>
            <a:off x="9145821" y="4011654"/>
            <a:ext cx="1460953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Clr>
                <a:srgbClr val="006AB2"/>
              </a:buClr>
              <a:buNone/>
            </a:pPr>
            <a:r>
              <a:rPr lang="fr-FR" b="1" dirty="0">
                <a:solidFill>
                  <a:schemeClr val="accent1"/>
                </a:solidFill>
                <a:cs typeface="Arial"/>
              </a:rPr>
              <a:t>Modalités </a:t>
            </a:r>
            <a:r>
              <a:rPr lang="fr-FR" b="1" dirty="0">
                <a:solidFill>
                  <a:srgbClr val="006AB2"/>
                </a:solidFill>
                <a:cs typeface="Arial"/>
              </a:rPr>
              <a:t> </a:t>
            </a:r>
            <a:endParaRPr lang="fr-FR" dirty="0"/>
          </a:p>
        </p:txBody>
      </p:sp>
      <p:sp>
        <p:nvSpPr>
          <p:cNvPr id="152" name="ZoneTexte 151">
            <a:extLst>
              <a:ext uri="{FF2B5EF4-FFF2-40B4-BE49-F238E27FC236}">
                <a16:creationId xmlns:a16="http://schemas.microsoft.com/office/drawing/2014/main" id="{4B5A3742-2210-4897-AB89-663F69F0B2B8}"/>
              </a:ext>
            </a:extLst>
          </p:cNvPr>
          <p:cNvSpPr txBox="1"/>
          <p:nvPr/>
        </p:nvSpPr>
        <p:spPr>
          <a:xfrm>
            <a:off x="8529822" y="4436281"/>
            <a:ext cx="2914696" cy="101566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Fichier Excel en deux onglets : </a:t>
            </a:r>
          </a:p>
          <a:p>
            <a:pPr marL="452120" indent="-171450">
              <a:buFontTx/>
              <a:buChar char="-"/>
            </a:pPr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Le premier expliquant le contenu</a:t>
            </a:r>
          </a:p>
          <a:p>
            <a:pPr marL="452120" indent="-171450">
              <a:buFontTx/>
              <a:buChar char="-"/>
            </a:pPr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/>
              </a:rPr>
              <a:t>Le second permettant la saisie des retours des ESMS</a:t>
            </a:r>
          </a:p>
          <a:p>
            <a:pPr marL="171450" indent="-171450">
              <a:buFontTx/>
              <a:buChar char="-"/>
            </a:pPr>
            <a:endParaRPr lang="fr-FR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13" name="Image 12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10DDBF9C-CDC1-A33E-7DA7-0F240DE609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62622" y="5331177"/>
            <a:ext cx="400756" cy="46660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F8D59A47-DCD8-DC66-F510-353CAD794285}"/>
              </a:ext>
            </a:extLst>
          </p:cNvPr>
          <p:cNvSpPr txBox="1"/>
          <p:nvPr/>
        </p:nvSpPr>
        <p:spPr>
          <a:xfrm>
            <a:off x="9117599" y="5498024"/>
            <a:ext cx="1460953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None/>
            </a:pPr>
            <a:r>
              <a:rPr lang="fr-FR" b="1">
                <a:solidFill>
                  <a:schemeClr val="accent1"/>
                </a:solidFill>
                <a:cs typeface="Arial"/>
              </a:rPr>
              <a:t>Temps estimé</a:t>
            </a:r>
            <a:endParaRPr lang="fr-FR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D58CAA0-F8FE-C8ED-059C-47FD0699F51A}"/>
              </a:ext>
            </a:extLst>
          </p:cNvPr>
          <p:cNvSpPr txBox="1"/>
          <p:nvPr/>
        </p:nvSpPr>
        <p:spPr>
          <a:xfrm>
            <a:off x="8605081" y="5837985"/>
            <a:ext cx="2914696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cs typeface="Arial"/>
              </a:rPr>
              <a:t>2h pour prendre connaissance des critères et les discuter (si travail réalisé en équipe) et 1h pour compléter la grille</a:t>
            </a:r>
            <a:endParaRPr lang="fr-FR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endParaRPr lang="fr-FR" sz="12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961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7">
            <a:extLst>
              <a:ext uri="{FF2B5EF4-FFF2-40B4-BE49-F238E27FC236}">
                <a16:creationId xmlns:a16="http://schemas.microsoft.com/office/drawing/2014/main" id="{27E20398-BD3D-46F0-58CA-703FE4A73827}"/>
              </a:ext>
            </a:extLst>
          </p:cNvPr>
          <p:cNvSpPr txBox="1"/>
          <p:nvPr/>
        </p:nvSpPr>
        <p:spPr>
          <a:xfrm>
            <a:off x="1472744" y="1902941"/>
            <a:ext cx="10047362" cy="13080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6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</a:rPr>
              <a:t>Le référentiel vise à fixer les règles pour un numérique en santé éthique et respectueux des utilisateurs </a:t>
            </a:r>
          </a:p>
          <a:p>
            <a:pPr algn="just">
              <a:spcBef>
                <a:spcPts val="6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</a:rPr>
              <a:t>Plusieurs déclinaisons du référentiel éthique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ont été créées pour</a:t>
            </a:r>
            <a:r>
              <a:rPr lang="fr-FR" sz="1400" b="1" dirty="0">
                <a:solidFill>
                  <a:srgbClr val="006AB2"/>
                </a:solidFill>
              </a:rPr>
              <a:t>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répondre à des besoins autour de la </a:t>
            </a:r>
            <a:r>
              <a:rPr lang="fr-FR" sz="1400" b="1" dirty="0">
                <a:solidFill>
                  <a:srgbClr val="006AB2"/>
                </a:solidFill>
              </a:rPr>
              <a:t>pratique des professionnels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(éthique de la télésanté, éthique de l’intelligence artificielle) </a:t>
            </a:r>
            <a:r>
              <a:rPr lang="fr-FR" sz="1400" b="1" dirty="0">
                <a:solidFill>
                  <a:srgbClr val="006AB2"/>
                </a:solidFill>
              </a:rPr>
              <a:t>et sectoriel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(éthique des logiciels de cabinet, éthique des systèmes d’information hospitaliers, </a:t>
            </a:r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etc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…).</a:t>
            </a:r>
          </a:p>
          <a:p>
            <a:pPr algn="just">
              <a:spcBef>
                <a:spcPts val="600"/>
              </a:spcBef>
              <a:buClr>
                <a:srgbClr val="006AB2"/>
              </a:buClr>
              <a:buNone/>
            </a:pP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F6D532E1-DED6-2B95-4EEB-5089F1145D9D}"/>
              </a:ext>
            </a:extLst>
          </p:cNvPr>
          <p:cNvSpPr txBox="1"/>
          <p:nvPr/>
        </p:nvSpPr>
        <p:spPr>
          <a:xfrm>
            <a:off x="554738" y="1340764"/>
            <a:ext cx="6850467" cy="452870"/>
          </a:xfrm>
          <a:prstGeom prst="rect">
            <a:avLst/>
          </a:prstGeom>
          <a:solidFill>
            <a:srgbClr val="E7F6FF"/>
          </a:solidFill>
          <a:ln w="19050">
            <a:noFill/>
            <a:prstDash val="sysDot"/>
          </a:ln>
        </p:spPr>
        <p:txBody>
          <a:bodyPr vert="horz" wrap="square" lIns="144000" tIns="72000" rIns="144000" bIns="7200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2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</a:rPr>
              <a:t>Aide</a:t>
            </a:r>
            <a:endParaRPr lang="fr-FR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5" name="Groupe 94">
            <a:extLst>
              <a:ext uri="{FF2B5EF4-FFF2-40B4-BE49-F238E27FC236}">
                <a16:creationId xmlns:a16="http://schemas.microsoft.com/office/drawing/2014/main" id="{923616E9-B987-46F3-860C-EA02E2026E82}"/>
              </a:ext>
            </a:extLst>
          </p:cNvPr>
          <p:cNvGrpSpPr>
            <a:grpSpLocks noChangeAspect="1"/>
          </p:cNvGrpSpPr>
          <p:nvPr/>
        </p:nvGrpSpPr>
        <p:grpSpPr>
          <a:xfrm rot="5400000" flipH="1">
            <a:off x="752564" y="1828263"/>
            <a:ext cx="344173" cy="578609"/>
            <a:chOff x="9774238" y="5526723"/>
            <a:chExt cx="269874" cy="439738"/>
          </a:xfrm>
        </p:grpSpPr>
        <p:sp>
          <p:nvSpPr>
            <p:cNvPr id="96" name="AutoShape 130">
              <a:extLst>
                <a:ext uri="{FF2B5EF4-FFF2-40B4-BE49-F238E27FC236}">
                  <a16:creationId xmlns:a16="http://schemas.microsoft.com/office/drawing/2014/main" id="{DCD2C4CD-3196-4D04-9C92-4B3E7E8F4D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74238" y="5537835"/>
              <a:ext cx="268287" cy="428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7" name="Freeform 132">
              <a:extLst>
                <a:ext uri="{FF2B5EF4-FFF2-40B4-BE49-F238E27FC236}">
                  <a16:creationId xmlns:a16="http://schemas.microsoft.com/office/drawing/2014/main" id="{64758507-0C0F-4291-A81C-4747DDA6E5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5825" y="5526723"/>
              <a:ext cx="268287" cy="439738"/>
            </a:xfrm>
            <a:custGeom>
              <a:avLst/>
              <a:gdLst>
                <a:gd name="T0" fmla="*/ 818 w 950"/>
                <a:gd name="T1" fmla="*/ 325 h 1575"/>
                <a:gd name="T2" fmla="*/ 773 w 950"/>
                <a:gd name="T3" fmla="*/ 325 h 1575"/>
                <a:gd name="T4" fmla="*/ 624 w 950"/>
                <a:gd name="T5" fmla="*/ 741 h 1575"/>
                <a:gd name="T6" fmla="*/ 648 w 950"/>
                <a:gd name="T7" fmla="*/ 104 h 1575"/>
                <a:gd name="T8" fmla="*/ 773 w 950"/>
                <a:gd name="T9" fmla="*/ 220 h 1575"/>
                <a:gd name="T10" fmla="*/ 818 w 950"/>
                <a:gd name="T11" fmla="*/ 220 h 1575"/>
                <a:gd name="T12" fmla="*/ 617 w 950"/>
                <a:gd name="T13" fmla="*/ 71 h 1575"/>
                <a:gd name="T14" fmla="*/ 579 w 950"/>
                <a:gd name="T15" fmla="*/ 536 h 1575"/>
                <a:gd name="T16" fmla="*/ 210 w 950"/>
                <a:gd name="T17" fmla="*/ 577 h 1575"/>
                <a:gd name="T18" fmla="*/ 0 w 950"/>
                <a:gd name="T19" fmla="*/ 654 h 1575"/>
                <a:gd name="T20" fmla="*/ 22 w 950"/>
                <a:gd name="T21" fmla="*/ 1053 h 1575"/>
                <a:gd name="T22" fmla="*/ 45 w 950"/>
                <a:gd name="T23" fmla="*/ 986 h 1575"/>
                <a:gd name="T24" fmla="*/ 215 w 950"/>
                <a:gd name="T25" fmla="*/ 963 h 1575"/>
                <a:gd name="T26" fmla="*/ 576 w 950"/>
                <a:gd name="T27" fmla="*/ 988 h 1575"/>
                <a:gd name="T28" fmla="*/ 703 w 950"/>
                <a:gd name="T29" fmla="*/ 983 h 1575"/>
                <a:gd name="T30" fmla="*/ 477 w 950"/>
                <a:gd name="T31" fmla="*/ 791 h 1575"/>
                <a:gd name="T32" fmla="*/ 594 w 950"/>
                <a:gd name="T33" fmla="*/ 779 h 1575"/>
                <a:gd name="T34" fmla="*/ 899 w 950"/>
                <a:gd name="T35" fmla="*/ 966 h 1575"/>
                <a:gd name="T36" fmla="*/ 837 w 950"/>
                <a:gd name="T37" fmla="*/ 1260 h 1575"/>
                <a:gd name="T38" fmla="*/ 692 w 950"/>
                <a:gd name="T39" fmla="*/ 1376 h 1575"/>
                <a:gd name="T40" fmla="*/ 703 w 950"/>
                <a:gd name="T41" fmla="*/ 1420 h 1575"/>
                <a:gd name="T42" fmla="*/ 723 w 950"/>
                <a:gd name="T43" fmla="*/ 1471 h 1575"/>
                <a:gd name="T44" fmla="*/ 636 w 950"/>
                <a:gd name="T45" fmla="*/ 1530 h 1575"/>
                <a:gd name="T46" fmla="*/ 636 w 950"/>
                <a:gd name="T47" fmla="*/ 1575 h 1575"/>
                <a:gd name="T48" fmla="*/ 768 w 950"/>
                <a:gd name="T49" fmla="*/ 1471 h 1575"/>
                <a:gd name="T50" fmla="*/ 806 w 950"/>
                <a:gd name="T51" fmla="*/ 1369 h 1575"/>
                <a:gd name="T52" fmla="*/ 943 w 950"/>
                <a:gd name="T53" fmla="*/ 975 h 1575"/>
                <a:gd name="T54" fmla="*/ 818 w 950"/>
                <a:gd name="T55" fmla="*/ 786 h 1575"/>
                <a:gd name="T56" fmla="*/ 45 w 950"/>
                <a:gd name="T57" fmla="*/ 893 h 1575"/>
                <a:gd name="T58" fmla="*/ 133 w 950"/>
                <a:gd name="T59" fmla="*/ 581 h 1575"/>
                <a:gd name="T60" fmla="*/ 193 w 950"/>
                <a:gd name="T61" fmla="*/ 901 h 1575"/>
                <a:gd name="T62" fmla="*/ 386 w 950"/>
                <a:gd name="T63" fmla="*/ 893 h 1575"/>
                <a:gd name="T64" fmla="*/ 238 w 950"/>
                <a:gd name="T65" fmla="*/ 901 h 1575"/>
                <a:gd name="T66" fmla="*/ 312 w 950"/>
                <a:gd name="T67" fmla="*/ 564 h 1575"/>
                <a:gd name="T68" fmla="*/ 386 w 950"/>
                <a:gd name="T69" fmla="*/ 893 h 1575"/>
                <a:gd name="T70" fmla="*/ 431 w 950"/>
                <a:gd name="T71" fmla="*/ 893 h 1575"/>
                <a:gd name="T72" fmla="*/ 524 w 950"/>
                <a:gd name="T73" fmla="*/ 964 h 1575"/>
                <a:gd name="T74" fmla="*/ 520 w 950"/>
                <a:gd name="T75" fmla="*/ 714 h 1575"/>
                <a:gd name="T76" fmla="*/ 431 w 950"/>
                <a:gd name="T77" fmla="*/ 629 h 1575"/>
                <a:gd name="T78" fmla="*/ 579 w 950"/>
                <a:gd name="T79" fmla="*/ 629 h 1575"/>
                <a:gd name="T80" fmla="*/ 579 w 950"/>
                <a:gd name="T81" fmla="*/ 727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0" h="1575">
                  <a:moveTo>
                    <a:pt x="818" y="786"/>
                  </a:moveTo>
                  <a:cubicBezTo>
                    <a:pt x="818" y="325"/>
                    <a:pt x="818" y="325"/>
                    <a:pt x="818" y="325"/>
                  </a:cubicBezTo>
                  <a:cubicBezTo>
                    <a:pt x="818" y="313"/>
                    <a:pt x="808" y="303"/>
                    <a:pt x="795" y="303"/>
                  </a:cubicBezTo>
                  <a:cubicBezTo>
                    <a:pt x="783" y="303"/>
                    <a:pt x="773" y="313"/>
                    <a:pt x="773" y="325"/>
                  </a:cubicBezTo>
                  <a:cubicBezTo>
                    <a:pt x="773" y="778"/>
                    <a:pt x="773" y="778"/>
                    <a:pt x="773" y="778"/>
                  </a:cubicBezTo>
                  <a:cubicBezTo>
                    <a:pt x="712" y="768"/>
                    <a:pt x="657" y="752"/>
                    <a:pt x="624" y="741"/>
                  </a:cubicBezTo>
                  <a:cubicBezTo>
                    <a:pt x="624" y="669"/>
                    <a:pt x="624" y="238"/>
                    <a:pt x="624" y="158"/>
                  </a:cubicBezTo>
                  <a:cubicBezTo>
                    <a:pt x="624" y="137"/>
                    <a:pt x="633" y="118"/>
                    <a:pt x="648" y="104"/>
                  </a:cubicBezTo>
                  <a:cubicBezTo>
                    <a:pt x="696" y="60"/>
                    <a:pt x="773" y="94"/>
                    <a:pt x="773" y="160"/>
                  </a:cubicBezTo>
                  <a:cubicBezTo>
                    <a:pt x="773" y="220"/>
                    <a:pt x="773" y="220"/>
                    <a:pt x="773" y="220"/>
                  </a:cubicBezTo>
                  <a:cubicBezTo>
                    <a:pt x="773" y="232"/>
                    <a:pt x="783" y="243"/>
                    <a:pt x="795" y="243"/>
                  </a:cubicBezTo>
                  <a:cubicBezTo>
                    <a:pt x="808" y="243"/>
                    <a:pt x="818" y="232"/>
                    <a:pt x="818" y="220"/>
                  </a:cubicBezTo>
                  <a:cubicBezTo>
                    <a:pt x="818" y="160"/>
                    <a:pt x="818" y="160"/>
                    <a:pt x="818" y="160"/>
                  </a:cubicBezTo>
                  <a:cubicBezTo>
                    <a:pt x="818" y="55"/>
                    <a:pt x="694" y="0"/>
                    <a:pt x="617" y="71"/>
                  </a:cubicBezTo>
                  <a:cubicBezTo>
                    <a:pt x="593" y="93"/>
                    <a:pt x="579" y="125"/>
                    <a:pt x="579" y="158"/>
                  </a:cubicBezTo>
                  <a:cubicBezTo>
                    <a:pt x="579" y="536"/>
                    <a:pt x="579" y="536"/>
                    <a:pt x="579" y="536"/>
                  </a:cubicBezTo>
                  <a:cubicBezTo>
                    <a:pt x="524" y="491"/>
                    <a:pt x="443" y="506"/>
                    <a:pt x="405" y="564"/>
                  </a:cubicBezTo>
                  <a:cubicBezTo>
                    <a:pt x="352" y="498"/>
                    <a:pt x="252" y="507"/>
                    <a:pt x="210" y="577"/>
                  </a:cubicBezTo>
                  <a:cubicBezTo>
                    <a:pt x="210" y="577"/>
                    <a:pt x="210" y="577"/>
                    <a:pt x="210" y="577"/>
                  </a:cubicBezTo>
                  <a:cubicBezTo>
                    <a:pt x="138" y="493"/>
                    <a:pt x="0" y="543"/>
                    <a:pt x="0" y="654"/>
                  </a:cubicBezTo>
                  <a:cubicBezTo>
                    <a:pt x="0" y="664"/>
                    <a:pt x="0" y="1019"/>
                    <a:pt x="0" y="1030"/>
                  </a:cubicBezTo>
                  <a:cubicBezTo>
                    <a:pt x="0" y="1042"/>
                    <a:pt x="10" y="1053"/>
                    <a:pt x="22" y="1053"/>
                  </a:cubicBezTo>
                  <a:cubicBezTo>
                    <a:pt x="35" y="1053"/>
                    <a:pt x="45" y="1042"/>
                    <a:pt x="45" y="1030"/>
                  </a:cubicBezTo>
                  <a:cubicBezTo>
                    <a:pt x="45" y="986"/>
                    <a:pt x="45" y="986"/>
                    <a:pt x="45" y="986"/>
                  </a:cubicBezTo>
                  <a:cubicBezTo>
                    <a:pt x="65" y="1002"/>
                    <a:pt x="91" y="1012"/>
                    <a:pt x="119" y="1012"/>
                  </a:cubicBezTo>
                  <a:cubicBezTo>
                    <a:pt x="158" y="1012"/>
                    <a:pt x="194" y="993"/>
                    <a:pt x="215" y="963"/>
                  </a:cubicBezTo>
                  <a:cubicBezTo>
                    <a:pt x="263" y="1028"/>
                    <a:pt x="361" y="1028"/>
                    <a:pt x="408" y="962"/>
                  </a:cubicBezTo>
                  <a:cubicBezTo>
                    <a:pt x="448" y="1017"/>
                    <a:pt x="523" y="1028"/>
                    <a:pt x="576" y="988"/>
                  </a:cubicBezTo>
                  <a:cubicBezTo>
                    <a:pt x="622" y="1007"/>
                    <a:pt x="687" y="1027"/>
                    <a:pt x="697" y="1027"/>
                  </a:cubicBezTo>
                  <a:cubicBezTo>
                    <a:pt x="724" y="1027"/>
                    <a:pt x="728" y="990"/>
                    <a:pt x="703" y="983"/>
                  </a:cubicBezTo>
                  <a:cubicBezTo>
                    <a:pt x="605" y="958"/>
                    <a:pt x="538" y="921"/>
                    <a:pt x="535" y="919"/>
                  </a:cubicBezTo>
                  <a:cubicBezTo>
                    <a:pt x="513" y="907"/>
                    <a:pt x="443" y="862"/>
                    <a:pt x="477" y="791"/>
                  </a:cubicBezTo>
                  <a:cubicBezTo>
                    <a:pt x="496" y="752"/>
                    <a:pt x="505" y="750"/>
                    <a:pt x="583" y="775"/>
                  </a:cubicBezTo>
                  <a:cubicBezTo>
                    <a:pt x="591" y="777"/>
                    <a:pt x="595" y="779"/>
                    <a:pt x="594" y="779"/>
                  </a:cubicBezTo>
                  <a:cubicBezTo>
                    <a:pt x="703" y="817"/>
                    <a:pt x="792" y="826"/>
                    <a:pt x="791" y="826"/>
                  </a:cubicBezTo>
                  <a:cubicBezTo>
                    <a:pt x="858" y="839"/>
                    <a:pt x="904" y="899"/>
                    <a:pt x="899" y="966"/>
                  </a:cubicBezTo>
                  <a:cubicBezTo>
                    <a:pt x="898" y="972"/>
                    <a:pt x="895" y="1046"/>
                    <a:pt x="870" y="1170"/>
                  </a:cubicBezTo>
                  <a:cubicBezTo>
                    <a:pt x="865" y="1198"/>
                    <a:pt x="859" y="1222"/>
                    <a:pt x="837" y="1260"/>
                  </a:cubicBezTo>
                  <a:cubicBezTo>
                    <a:pt x="820" y="1288"/>
                    <a:pt x="799" y="1314"/>
                    <a:pt x="775" y="1337"/>
                  </a:cubicBezTo>
                  <a:cubicBezTo>
                    <a:pt x="771" y="1340"/>
                    <a:pt x="744" y="1364"/>
                    <a:pt x="692" y="1376"/>
                  </a:cubicBezTo>
                  <a:cubicBezTo>
                    <a:pt x="680" y="1379"/>
                    <a:pt x="672" y="1392"/>
                    <a:pt x="675" y="1404"/>
                  </a:cubicBezTo>
                  <a:cubicBezTo>
                    <a:pt x="678" y="1416"/>
                    <a:pt x="690" y="1423"/>
                    <a:pt x="703" y="1420"/>
                  </a:cubicBezTo>
                  <a:cubicBezTo>
                    <a:pt x="710" y="1418"/>
                    <a:pt x="717" y="1417"/>
                    <a:pt x="723" y="1414"/>
                  </a:cubicBezTo>
                  <a:cubicBezTo>
                    <a:pt x="723" y="1471"/>
                    <a:pt x="723" y="1471"/>
                    <a:pt x="723" y="1471"/>
                  </a:cubicBezTo>
                  <a:cubicBezTo>
                    <a:pt x="723" y="1504"/>
                    <a:pt x="697" y="1530"/>
                    <a:pt x="664" y="1530"/>
                  </a:cubicBezTo>
                  <a:cubicBezTo>
                    <a:pt x="636" y="1530"/>
                    <a:pt x="636" y="1530"/>
                    <a:pt x="636" y="1530"/>
                  </a:cubicBezTo>
                  <a:cubicBezTo>
                    <a:pt x="623" y="1530"/>
                    <a:pt x="613" y="1540"/>
                    <a:pt x="613" y="1553"/>
                  </a:cubicBezTo>
                  <a:cubicBezTo>
                    <a:pt x="613" y="1565"/>
                    <a:pt x="623" y="1575"/>
                    <a:pt x="636" y="1575"/>
                  </a:cubicBezTo>
                  <a:cubicBezTo>
                    <a:pt x="664" y="1575"/>
                    <a:pt x="664" y="1575"/>
                    <a:pt x="664" y="1575"/>
                  </a:cubicBezTo>
                  <a:cubicBezTo>
                    <a:pt x="722" y="1575"/>
                    <a:pt x="768" y="1528"/>
                    <a:pt x="768" y="1471"/>
                  </a:cubicBezTo>
                  <a:cubicBezTo>
                    <a:pt x="768" y="1400"/>
                    <a:pt x="768" y="1400"/>
                    <a:pt x="768" y="1400"/>
                  </a:cubicBezTo>
                  <a:cubicBezTo>
                    <a:pt x="771" y="1398"/>
                    <a:pt x="790" y="1385"/>
                    <a:pt x="806" y="1369"/>
                  </a:cubicBezTo>
                  <a:cubicBezTo>
                    <a:pt x="859" y="1320"/>
                    <a:pt x="901" y="1252"/>
                    <a:pt x="913" y="1185"/>
                  </a:cubicBezTo>
                  <a:cubicBezTo>
                    <a:pt x="918" y="1156"/>
                    <a:pt x="936" y="1077"/>
                    <a:pt x="943" y="975"/>
                  </a:cubicBezTo>
                  <a:cubicBezTo>
                    <a:pt x="944" y="970"/>
                    <a:pt x="944" y="970"/>
                    <a:pt x="944" y="970"/>
                  </a:cubicBezTo>
                  <a:cubicBezTo>
                    <a:pt x="950" y="886"/>
                    <a:pt x="897" y="810"/>
                    <a:pt x="818" y="786"/>
                  </a:cubicBezTo>
                  <a:close/>
                  <a:moveTo>
                    <a:pt x="119" y="967"/>
                  </a:moveTo>
                  <a:cubicBezTo>
                    <a:pt x="78" y="967"/>
                    <a:pt x="45" y="934"/>
                    <a:pt x="45" y="893"/>
                  </a:cubicBezTo>
                  <a:cubicBezTo>
                    <a:pt x="45" y="654"/>
                    <a:pt x="45" y="654"/>
                    <a:pt x="45" y="654"/>
                  </a:cubicBezTo>
                  <a:cubicBezTo>
                    <a:pt x="45" y="608"/>
                    <a:pt x="87" y="572"/>
                    <a:pt x="133" y="581"/>
                  </a:cubicBezTo>
                  <a:cubicBezTo>
                    <a:pt x="164" y="587"/>
                    <a:pt x="188" y="612"/>
                    <a:pt x="192" y="644"/>
                  </a:cubicBezTo>
                  <a:cubicBezTo>
                    <a:pt x="193" y="907"/>
                    <a:pt x="192" y="892"/>
                    <a:pt x="193" y="901"/>
                  </a:cubicBezTo>
                  <a:cubicBezTo>
                    <a:pt x="189" y="938"/>
                    <a:pt x="157" y="967"/>
                    <a:pt x="119" y="967"/>
                  </a:cubicBezTo>
                  <a:close/>
                  <a:moveTo>
                    <a:pt x="386" y="893"/>
                  </a:moveTo>
                  <a:cubicBezTo>
                    <a:pt x="386" y="934"/>
                    <a:pt x="353" y="967"/>
                    <a:pt x="312" y="967"/>
                  </a:cubicBezTo>
                  <a:cubicBezTo>
                    <a:pt x="273" y="967"/>
                    <a:pt x="242" y="938"/>
                    <a:pt x="238" y="901"/>
                  </a:cubicBezTo>
                  <a:cubicBezTo>
                    <a:pt x="238" y="895"/>
                    <a:pt x="239" y="657"/>
                    <a:pt x="237" y="639"/>
                  </a:cubicBezTo>
                  <a:cubicBezTo>
                    <a:pt x="237" y="598"/>
                    <a:pt x="271" y="564"/>
                    <a:pt x="312" y="564"/>
                  </a:cubicBezTo>
                  <a:cubicBezTo>
                    <a:pt x="353" y="564"/>
                    <a:pt x="386" y="598"/>
                    <a:pt x="386" y="639"/>
                  </a:cubicBezTo>
                  <a:lnTo>
                    <a:pt x="386" y="893"/>
                  </a:lnTo>
                  <a:close/>
                  <a:moveTo>
                    <a:pt x="524" y="964"/>
                  </a:moveTo>
                  <a:cubicBezTo>
                    <a:pt x="477" y="977"/>
                    <a:pt x="431" y="941"/>
                    <a:pt x="431" y="893"/>
                  </a:cubicBezTo>
                  <a:cubicBezTo>
                    <a:pt x="431" y="871"/>
                    <a:pt x="431" y="871"/>
                    <a:pt x="431" y="871"/>
                  </a:cubicBezTo>
                  <a:cubicBezTo>
                    <a:pt x="444" y="905"/>
                    <a:pt x="472" y="938"/>
                    <a:pt x="524" y="964"/>
                  </a:cubicBezTo>
                  <a:close/>
                  <a:moveTo>
                    <a:pt x="579" y="727"/>
                  </a:moveTo>
                  <a:cubicBezTo>
                    <a:pt x="561" y="721"/>
                    <a:pt x="539" y="715"/>
                    <a:pt x="520" y="714"/>
                  </a:cubicBezTo>
                  <a:cubicBezTo>
                    <a:pt x="474" y="711"/>
                    <a:pt x="447" y="742"/>
                    <a:pt x="431" y="785"/>
                  </a:cubicBezTo>
                  <a:cubicBezTo>
                    <a:pt x="431" y="739"/>
                    <a:pt x="431" y="676"/>
                    <a:pt x="431" y="629"/>
                  </a:cubicBezTo>
                  <a:cubicBezTo>
                    <a:pt x="431" y="588"/>
                    <a:pt x="464" y="555"/>
                    <a:pt x="505" y="555"/>
                  </a:cubicBezTo>
                  <a:cubicBezTo>
                    <a:pt x="546" y="555"/>
                    <a:pt x="579" y="588"/>
                    <a:pt x="579" y="629"/>
                  </a:cubicBezTo>
                  <a:lnTo>
                    <a:pt x="579" y="727"/>
                  </a:lnTo>
                  <a:close/>
                  <a:moveTo>
                    <a:pt x="579" y="727"/>
                  </a:moveTo>
                  <a:cubicBezTo>
                    <a:pt x="579" y="727"/>
                    <a:pt x="579" y="727"/>
                    <a:pt x="579" y="727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8" name="Freeform 133">
              <a:extLst>
                <a:ext uri="{FF2B5EF4-FFF2-40B4-BE49-F238E27FC236}">
                  <a16:creationId xmlns:a16="http://schemas.microsoft.com/office/drawing/2014/main" id="{57BF8F04-DF90-4D8A-BB6E-56C51517F7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5825" y="5837873"/>
              <a:ext cx="155575" cy="128588"/>
            </a:xfrm>
            <a:custGeom>
              <a:avLst/>
              <a:gdLst>
                <a:gd name="T0" fmla="*/ 531 w 553"/>
                <a:gd name="T1" fmla="*/ 418 h 463"/>
                <a:gd name="T2" fmla="*/ 210 w 553"/>
                <a:gd name="T3" fmla="*/ 418 h 463"/>
                <a:gd name="T4" fmla="*/ 150 w 553"/>
                <a:gd name="T5" fmla="*/ 358 h 463"/>
                <a:gd name="T6" fmla="*/ 112 w 553"/>
                <a:gd name="T7" fmla="*/ 212 h 463"/>
                <a:gd name="T8" fmla="*/ 45 w 553"/>
                <a:gd name="T9" fmla="*/ 22 h 463"/>
                <a:gd name="T10" fmla="*/ 22 w 553"/>
                <a:gd name="T11" fmla="*/ 1 h 463"/>
                <a:gd name="T12" fmla="*/ 0 w 553"/>
                <a:gd name="T13" fmla="*/ 24 h 463"/>
                <a:gd name="T14" fmla="*/ 76 w 553"/>
                <a:gd name="T15" fmla="*/ 239 h 463"/>
                <a:gd name="T16" fmla="*/ 105 w 553"/>
                <a:gd name="T17" fmla="*/ 358 h 463"/>
                <a:gd name="T18" fmla="*/ 210 w 553"/>
                <a:gd name="T19" fmla="*/ 463 h 463"/>
                <a:gd name="T20" fmla="*/ 531 w 553"/>
                <a:gd name="T21" fmla="*/ 463 h 463"/>
                <a:gd name="T22" fmla="*/ 553 w 553"/>
                <a:gd name="T23" fmla="*/ 441 h 463"/>
                <a:gd name="T24" fmla="*/ 531 w 553"/>
                <a:gd name="T25" fmla="*/ 418 h 463"/>
                <a:gd name="T26" fmla="*/ 531 w 553"/>
                <a:gd name="T27" fmla="*/ 418 h 463"/>
                <a:gd name="T28" fmla="*/ 531 w 553"/>
                <a:gd name="T29" fmla="*/ 41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3" h="463">
                  <a:moveTo>
                    <a:pt x="531" y="418"/>
                  </a:moveTo>
                  <a:cubicBezTo>
                    <a:pt x="210" y="418"/>
                    <a:pt x="210" y="418"/>
                    <a:pt x="210" y="418"/>
                  </a:cubicBezTo>
                  <a:cubicBezTo>
                    <a:pt x="177" y="418"/>
                    <a:pt x="150" y="391"/>
                    <a:pt x="150" y="358"/>
                  </a:cubicBezTo>
                  <a:cubicBezTo>
                    <a:pt x="149" y="345"/>
                    <a:pt x="160" y="277"/>
                    <a:pt x="112" y="212"/>
                  </a:cubicBezTo>
                  <a:cubicBezTo>
                    <a:pt x="71" y="157"/>
                    <a:pt x="47" y="91"/>
                    <a:pt x="45" y="22"/>
                  </a:cubicBezTo>
                  <a:cubicBezTo>
                    <a:pt x="44" y="10"/>
                    <a:pt x="34" y="0"/>
                    <a:pt x="22" y="1"/>
                  </a:cubicBezTo>
                  <a:cubicBezTo>
                    <a:pt x="9" y="1"/>
                    <a:pt x="0" y="11"/>
                    <a:pt x="0" y="24"/>
                  </a:cubicBezTo>
                  <a:cubicBezTo>
                    <a:pt x="3" y="102"/>
                    <a:pt x="29" y="176"/>
                    <a:pt x="76" y="239"/>
                  </a:cubicBezTo>
                  <a:cubicBezTo>
                    <a:pt x="114" y="290"/>
                    <a:pt x="104" y="344"/>
                    <a:pt x="105" y="358"/>
                  </a:cubicBezTo>
                  <a:cubicBezTo>
                    <a:pt x="105" y="416"/>
                    <a:pt x="152" y="463"/>
                    <a:pt x="210" y="463"/>
                  </a:cubicBezTo>
                  <a:cubicBezTo>
                    <a:pt x="531" y="463"/>
                    <a:pt x="531" y="463"/>
                    <a:pt x="531" y="463"/>
                  </a:cubicBezTo>
                  <a:cubicBezTo>
                    <a:pt x="543" y="463"/>
                    <a:pt x="553" y="453"/>
                    <a:pt x="553" y="441"/>
                  </a:cubicBezTo>
                  <a:cubicBezTo>
                    <a:pt x="553" y="428"/>
                    <a:pt x="543" y="418"/>
                    <a:pt x="531" y="418"/>
                  </a:cubicBezTo>
                  <a:close/>
                  <a:moveTo>
                    <a:pt x="531" y="418"/>
                  </a:moveTo>
                  <a:cubicBezTo>
                    <a:pt x="531" y="418"/>
                    <a:pt x="531" y="418"/>
                    <a:pt x="531" y="418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99" name="Gruppieren 11435">
            <a:extLst>
              <a:ext uri="{FF2B5EF4-FFF2-40B4-BE49-F238E27FC236}">
                <a16:creationId xmlns:a16="http://schemas.microsoft.com/office/drawing/2014/main" id="{263D5FEB-190E-4C47-B47F-A58F777A514C}"/>
              </a:ext>
            </a:extLst>
          </p:cNvPr>
          <p:cNvGrpSpPr>
            <a:grpSpLocks noChangeAspect="1"/>
          </p:cNvGrpSpPr>
          <p:nvPr/>
        </p:nvGrpSpPr>
        <p:grpSpPr>
          <a:xfrm>
            <a:off x="671895" y="3189229"/>
            <a:ext cx="357361" cy="487312"/>
            <a:chOff x="-742950" y="2119313"/>
            <a:chExt cx="890588" cy="1214438"/>
          </a:xfrm>
          <a:solidFill>
            <a:schemeClr val="bg1">
              <a:lumMod val="50000"/>
            </a:schemeClr>
          </a:solidFill>
        </p:grpSpPr>
        <p:sp>
          <p:nvSpPr>
            <p:cNvPr id="100" name="Freeform 187">
              <a:extLst>
                <a:ext uri="{FF2B5EF4-FFF2-40B4-BE49-F238E27FC236}">
                  <a16:creationId xmlns:a16="http://schemas.microsoft.com/office/drawing/2014/main" id="{EF0AC1C8-D579-4221-A822-376A3288A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42950" y="2119313"/>
              <a:ext cx="890588" cy="1214438"/>
            </a:xfrm>
            <a:custGeom>
              <a:avLst/>
              <a:gdLst>
                <a:gd name="T0" fmla="*/ 893 w 893"/>
                <a:gd name="T1" fmla="*/ 216 h 1217"/>
                <a:gd name="T2" fmla="*/ 891 w 893"/>
                <a:gd name="T3" fmla="*/ 209 h 1217"/>
                <a:gd name="T4" fmla="*/ 891 w 893"/>
                <a:gd name="T5" fmla="*/ 207 h 1217"/>
                <a:gd name="T6" fmla="*/ 886 w 893"/>
                <a:gd name="T7" fmla="*/ 195 h 1217"/>
                <a:gd name="T8" fmla="*/ 698 w 893"/>
                <a:gd name="T9" fmla="*/ 5 h 1217"/>
                <a:gd name="T10" fmla="*/ 686 w 893"/>
                <a:gd name="T11" fmla="*/ 0 h 1217"/>
                <a:gd name="T12" fmla="*/ 17 w 893"/>
                <a:gd name="T13" fmla="*/ 0 h 1217"/>
                <a:gd name="T14" fmla="*/ 0 w 893"/>
                <a:gd name="T15" fmla="*/ 17 h 1217"/>
                <a:gd name="T16" fmla="*/ 0 w 893"/>
                <a:gd name="T17" fmla="*/ 820 h 1217"/>
                <a:gd name="T18" fmla="*/ 17 w 893"/>
                <a:gd name="T19" fmla="*/ 837 h 1217"/>
                <a:gd name="T20" fmla="*/ 34 w 893"/>
                <a:gd name="T21" fmla="*/ 820 h 1217"/>
                <a:gd name="T22" fmla="*/ 34 w 893"/>
                <a:gd name="T23" fmla="*/ 34 h 1217"/>
                <a:gd name="T24" fmla="*/ 669 w 893"/>
                <a:gd name="T25" fmla="*/ 34 h 1217"/>
                <a:gd name="T26" fmla="*/ 669 w 893"/>
                <a:gd name="T27" fmla="*/ 216 h 1217"/>
                <a:gd name="T28" fmla="*/ 686 w 893"/>
                <a:gd name="T29" fmla="*/ 233 h 1217"/>
                <a:gd name="T30" fmla="*/ 857 w 893"/>
                <a:gd name="T31" fmla="*/ 233 h 1217"/>
                <a:gd name="T32" fmla="*/ 857 w 893"/>
                <a:gd name="T33" fmla="*/ 1183 h 1217"/>
                <a:gd name="T34" fmla="*/ 263 w 893"/>
                <a:gd name="T35" fmla="*/ 1183 h 1217"/>
                <a:gd name="T36" fmla="*/ 246 w 893"/>
                <a:gd name="T37" fmla="*/ 1200 h 1217"/>
                <a:gd name="T38" fmla="*/ 263 w 893"/>
                <a:gd name="T39" fmla="*/ 1217 h 1217"/>
                <a:gd name="T40" fmla="*/ 874 w 893"/>
                <a:gd name="T41" fmla="*/ 1217 h 1217"/>
                <a:gd name="T42" fmla="*/ 891 w 893"/>
                <a:gd name="T43" fmla="*/ 1200 h 1217"/>
                <a:gd name="T44" fmla="*/ 891 w 893"/>
                <a:gd name="T45" fmla="*/ 224 h 1217"/>
                <a:gd name="T46" fmla="*/ 893 w 893"/>
                <a:gd name="T47" fmla="*/ 216 h 1217"/>
                <a:gd name="T48" fmla="*/ 703 w 893"/>
                <a:gd name="T49" fmla="*/ 58 h 1217"/>
                <a:gd name="T50" fmla="*/ 843 w 893"/>
                <a:gd name="T51" fmla="*/ 200 h 1217"/>
                <a:gd name="T52" fmla="*/ 703 w 893"/>
                <a:gd name="T53" fmla="*/ 200 h 1217"/>
                <a:gd name="T54" fmla="*/ 703 w 893"/>
                <a:gd name="T55" fmla="*/ 58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93" h="1217">
                  <a:moveTo>
                    <a:pt x="893" y="216"/>
                  </a:moveTo>
                  <a:cubicBezTo>
                    <a:pt x="893" y="214"/>
                    <a:pt x="892" y="211"/>
                    <a:pt x="891" y="209"/>
                  </a:cubicBezTo>
                  <a:cubicBezTo>
                    <a:pt x="891" y="207"/>
                    <a:pt x="891" y="207"/>
                    <a:pt x="891" y="207"/>
                  </a:cubicBezTo>
                  <a:cubicBezTo>
                    <a:pt x="891" y="202"/>
                    <a:pt x="889" y="198"/>
                    <a:pt x="886" y="195"/>
                  </a:cubicBezTo>
                  <a:cubicBezTo>
                    <a:pt x="698" y="5"/>
                    <a:pt x="698" y="5"/>
                    <a:pt x="698" y="5"/>
                  </a:cubicBezTo>
                  <a:cubicBezTo>
                    <a:pt x="694" y="2"/>
                    <a:pt x="690" y="0"/>
                    <a:pt x="68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820"/>
                    <a:pt x="0" y="820"/>
                    <a:pt x="0" y="820"/>
                  </a:cubicBezTo>
                  <a:cubicBezTo>
                    <a:pt x="0" y="830"/>
                    <a:pt x="8" y="837"/>
                    <a:pt x="17" y="837"/>
                  </a:cubicBezTo>
                  <a:cubicBezTo>
                    <a:pt x="26" y="837"/>
                    <a:pt x="34" y="830"/>
                    <a:pt x="34" y="820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669" y="34"/>
                    <a:pt x="669" y="34"/>
                    <a:pt x="669" y="34"/>
                  </a:cubicBezTo>
                  <a:cubicBezTo>
                    <a:pt x="669" y="216"/>
                    <a:pt x="669" y="216"/>
                    <a:pt x="669" y="216"/>
                  </a:cubicBezTo>
                  <a:cubicBezTo>
                    <a:pt x="669" y="226"/>
                    <a:pt x="677" y="233"/>
                    <a:pt x="686" y="233"/>
                  </a:cubicBezTo>
                  <a:cubicBezTo>
                    <a:pt x="857" y="233"/>
                    <a:pt x="857" y="233"/>
                    <a:pt x="857" y="233"/>
                  </a:cubicBezTo>
                  <a:cubicBezTo>
                    <a:pt x="857" y="1183"/>
                    <a:pt x="857" y="1183"/>
                    <a:pt x="857" y="1183"/>
                  </a:cubicBezTo>
                  <a:cubicBezTo>
                    <a:pt x="263" y="1183"/>
                    <a:pt x="263" y="1183"/>
                    <a:pt x="263" y="1183"/>
                  </a:cubicBezTo>
                  <a:cubicBezTo>
                    <a:pt x="254" y="1183"/>
                    <a:pt x="246" y="1191"/>
                    <a:pt x="246" y="1200"/>
                  </a:cubicBezTo>
                  <a:cubicBezTo>
                    <a:pt x="246" y="1210"/>
                    <a:pt x="254" y="1217"/>
                    <a:pt x="263" y="1217"/>
                  </a:cubicBezTo>
                  <a:cubicBezTo>
                    <a:pt x="874" y="1217"/>
                    <a:pt x="874" y="1217"/>
                    <a:pt x="874" y="1217"/>
                  </a:cubicBezTo>
                  <a:cubicBezTo>
                    <a:pt x="883" y="1217"/>
                    <a:pt x="891" y="1210"/>
                    <a:pt x="891" y="1200"/>
                  </a:cubicBezTo>
                  <a:cubicBezTo>
                    <a:pt x="891" y="224"/>
                    <a:pt x="891" y="224"/>
                    <a:pt x="891" y="224"/>
                  </a:cubicBezTo>
                  <a:cubicBezTo>
                    <a:pt x="892" y="221"/>
                    <a:pt x="893" y="219"/>
                    <a:pt x="893" y="216"/>
                  </a:cubicBezTo>
                  <a:close/>
                  <a:moveTo>
                    <a:pt x="703" y="58"/>
                  </a:moveTo>
                  <a:cubicBezTo>
                    <a:pt x="843" y="200"/>
                    <a:pt x="843" y="200"/>
                    <a:pt x="843" y="200"/>
                  </a:cubicBezTo>
                  <a:cubicBezTo>
                    <a:pt x="703" y="200"/>
                    <a:pt x="703" y="200"/>
                    <a:pt x="703" y="200"/>
                  </a:cubicBezTo>
                  <a:lnTo>
                    <a:pt x="70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188">
              <a:extLst>
                <a:ext uri="{FF2B5EF4-FFF2-40B4-BE49-F238E27FC236}">
                  <a16:creationId xmlns:a16="http://schemas.microsoft.com/office/drawing/2014/main" id="{5EE3C9E5-5D95-404B-A59C-FC0C9F1D6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625726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189">
              <a:extLst>
                <a:ext uri="{FF2B5EF4-FFF2-40B4-BE49-F238E27FC236}">
                  <a16:creationId xmlns:a16="http://schemas.microsoft.com/office/drawing/2014/main" id="{49E62EE5-CA89-4859-AEEF-4B1135F0C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747963"/>
              <a:ext cx="320675" cy="33338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7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7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7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190">
              <a:extLst>
                <a:ext uri="{FF2B5EF4-FFF2-40B4-BE49-F238E27FC236}">
                  <a16:creationId xmlns:a16="http://schemas.microsoft.com/office/drawing/2014/main" id="{E3A46270-F2F4-4521-B740-B725D5C39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505076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191">
              <a:extLst>
                <a:ext uri="{FF2B5EF4-FFF2-40B4-BE49-F238E27FC236}">
                  <a16:creationId xmlns:a16="http://schemas.microsoft.com/office/drawing/2014/main" id="{4A800ED6-BC2F-47AD-8491-DAF552DD1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382838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192">
              <a:extLst>
                <a:ext uri="{FF2B5EF4-FFF2-40B4-BE49-F238E27FC236}">
                  <a16:creationId xmlns:a16="http://schemas.microsoft.com/office/drawing/2014/main" id="{CD70B2E2-208F-44E3-8BAA-38017A1A6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870201"/>
              <a:ext cx="320675" cy="31750"/>
            </a:xfrm>
            <a:custGeom>
              <a:avLst/>
              <a:gdLst>
                <a:gd name="T0" fmla="*/ 305 w 322"/>
                <a:gd name="T1" fmla="*/ 33 h 33"/>
                <a:gd name="T2" fmla="*/ 17 w 322"/>
                <a:gd name="T3" fmla="*/ 33 h 33"/>
                <a:gd name="T4" fmla="*/ 0 w 322"/>
                <a:gd name="T5" fmla="*/ 16 h 33"/>
                <a:gd name="T6" fmla="*/ 17 w 322"/>
                <a:gd name="T7" fmla="*/ 0 h 33"/>
                <a:gd name="T8" fmla="*/ 305 w 322"/>
                <a:gd name="T9" fmla="*/ 0 h 33"/>
                <a:gd name="T10" fmla="*/ 322 w 322"/>
                <a:gd name="T11" fmla="*/ 16 h 33"/>
                <a:gd name="T12" fmla="*/ 305 w 3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3">
                  <a:moveTo>
                    <a:pt x="305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7"/>
                    <a:pt x="322" y="16"/>
                  </a:cubicBezTo>
                  <a:cubicBezTo>
                    <a:pt x="322" y="26"/>
                    <a:pt x="314" y="33"/>
                    <a:pt x="30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193">
              <a:extLst>
                <a:ext uri="{FF2B5EF4-FFF2-40B4-BE49-F238E27FC236}">
                  <a16:creationId xmlns:a16="http://schemas.microsoft.com/office/drawing/2014/main" id="{64AF6D4D-0CD5-4904-A580-82655652F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2990851"/>
              <a:ext cx="320675" cy="33338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7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194">
              <a:extLst>
                <a:ext uri="{FF2B5EF4-FFF2-40B4-BE49-F238E27FC236}">
                  <a16:creationId xmlns:a16="http://schemas.microsoft.com/office/drawing/2014/main" id="{6D1966B8-1424-4A67-A121-3BE630AC2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100" y="3111501"/>
              <a:ext cx="320675" cy="34925"/>
            </a:xfrm>
            <a:custGeom>
              <a:avLst/>
              <a:gdLst>
                <a:gd name="T0" fmla="*/ 305 w 322"/>
                <a:gd name="T1" fmla="*/ 34 h 34"/>
                <a:gd name="T2" fmla="*/ 17 w 322"/>
                <a:gd name="T3" fmla="*/ 34 h 34"/>
                <a:gd name="T4" fmla="*/ 0 w 322"/>
                <a:gd name="T5" fmla="*/ 17 h 34"/>
                <a:gd name="T6" fmla="*/ 17 w 322"/>
                <a:gd name="T7" fmla="*/ 0 h 34"/>
                <a:gd name="T8" fmla="*/ 305 w 322"/>
                <a:gd name="T9" fmla="*/ 0 h 34"/>
                <a:gd name="T10" fmla="*/ 322 w 322"/>
                <a:gd name="T11" fmla="*/ 17 h 34"/>
                <a:gd name="T12" fmla="*/ 305 w 322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34">
                  <a:moveTo>
                    <a:pt x="305" y="34"/>
                  </a:moveTo>
                  <a:cubicBezTo>
                    <a:pt x="17" y="34"/>
                    <a:pt x="17" y="34"/>
                    <a:pt x="17" y="34"/>
                  </a:cubicBezTo>
                  <a:cubicBezTo>
                    <a:pt x="8" y="34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14" y="0"/>
                    <a:pt x="322" y="8"/>
                    <a:pt x="322" y="17"/>
                  </a:cubicBezTo>
                  <a:cubicBezTo>
                    <a:pt x="322" y="26"/>
                    <a:pt x="314" y="34"/>
                    <a:pt x="30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195">
              <a:extLst>
                <a:ext uri="{FF2B5EF4-FFF2-40B4-BE49-F238E27FC236}">
                  <a16:creationId xmlns:a16="http://schemas.microsoft.com/office/drawing/2014/main" id="{79A2F508-421F-4460-9AC0-DBAE3CB6D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349501"/>
              <a:ext cx="107950" cy="92075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196">
              <a:extLst>
                <a:ext uri="{FF2B5EF4-FFF2-40B4-BE49-F238E27FC236}">
                  <a16:creationId xmlns:a16="http://schemas.microsoft.com/office/drawing/2014/main" id="{82347396-CB46-4E13-9E7B-AA535C38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473326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5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197">
              <a:extLst>
                <a:ext uri="{FF2B5EF4-FFF2-40B4-BE49-F238E27FC236}">
                  <a16:creationId xmlns:a16="http://schemas.microsoft.com/office/drawing/2014/main" id="{EA9E67C3-83A4-4FB7-B303-AC08BBCB2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590801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198">
              <a:extLst>
                <a:ext uri="{FF2B5EF4-FFF2-40B4-BE49-F238E27FC236}">
                  <a16:creationId xmlns:a16="http://schemas.microsoft.com/office/drawing/2014/main" id="{5631D0F4-D409-4022-A0B2-888E819DD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2843213"/>
              <a:ext cx="107950" cy="90488"/>
            </a:xfrm>
            <a:custGeom>
              <a:avLst/>
              <a:gdLst>
                <a:gd name="T0" fmla="*/ 37 w 109"/>
                <a:gd name="T1" fmla="*/ 92 h 92"/>
                <a:gd name="T2" fmla="*/ 35 w 109"/>
                <a:gd name="T3" fmla="*/ 92 h 92"/>
                <a:gd name="T4" fmla="*/ 23 w 109"/>
                <a:gd name="T5" fmla="*/ 84 h 92"/>
                <a:gd name="T6" fmla="*/ 6 w 109"/>
                <a:gd name="T7" fmla="*/ 59 h 92"/>
                <a:gd name="T8" fmla="*/ 10 w 109"/>
                <a:gd name="T9" fmla="*/ 36 h 92"/>
                <a:gd name="T10" fmla="*/ 34 w 109"/>
                <a:gd name="T11" fmla="*/ 40 h 92"/>
                <a:gd name="T12" fmla="*/ 39 w 109"/>
                <a:gd name="T13" fmla="*/ 48 h 92"/>
                <a:gd name="T14" fmla="*/ 78 w 109"/>
                <a:gd name="T15" fmla="*/ 7 h 92"/>
                <a:gd name="T16" fmla="*/ 102 w 109"/>
                <a:gd name="T17" fmla="*/ 6 h 92"/>
                <a:gd name="T18" fmla="*/ 102 w 109"/>
                <a:gd name="T19" fmla="*/ 30 h 92"/>
                <a:gd name="T20" fmla="*/ 49 w 109"/>
                <a:gd name="T21" fmla="*/ 86 h 92"/>
                <a:gd name="T22" fmla="*/ 37 w 109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2">
                  <a:moveTo>
                    <a:pt x="37" y="92"/>
                  </a:moveTo>
                  <a:cubicBezTo>
                    <a:pt x="36" y="92"/>
                    <a:pt x="36" y="92"/>
                    <a:pt x="35" y="92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0" y="51"/>
                    <a:pt x="3" y="41"/>
                    <a:pt x="10" y="36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3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90"/>
                    <a:pt x="41" y="92"/>
                    <a:pt x="37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199">
              <a:extLst>
                <a:ext uri="{FF2B5EF4-FFF2-40B4-BE49-F238E27FC236}">
                  <a16:creationId xmlns:a16="http://schemas.microsoft.com/office/drawing/2014/main" id="{A8E7A8E1-A9E2-4AB4-99A9-DBEB19DB1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5262" y="3076576"/>
              <a:ext cx="107950" cy="90488"/>
            </a:xfrm>
            <a:custGeom>
              <a:avLst/>
              <a:gdLst>
                <a:gd name="T0" fmla="*/ 37 w 109"/>
                <a:gd name="T1" fmla="*/ 91 h 91"/>
                <a:gd name="T2" fmla="*/ 35 w 109"/>
                <a:gd name="T3" fmla="*/ 91 h 91"/>
                <a:gd name="T4" fmla="*/ 23 w 109"/>
                <a:gd name="T5" fmla="*/ 84 h 91"/>
                <a:gd name="T6" fmla="*/ 6 w 109"/>
                <a:gd name="T7" fmla="*/ 58 h 91"/>
                <a:gd name="T8" fmla="*/ 10 w 109"/>
                <a:gd name="T9" fmla="*/ 35 h 91"/>
                <a:gd name="T10" fmla="*/ 34 w 109"/>
                <a:gd name="T11" fmla="*/ 40 h 91"/>
                <a:gd name="T12" fmla="*/ 39 w 109"/>
                <a:gd name="T13" fmla="*/ 47 h 91"/>
                <a:gd name="T14" fmla="*/ 78 w 109"/>
                <a:gd name="T15" fmla="*/ 7 h 91"/>
                <a:gd name="T16" fmla="*/ 102 w 109"/>
                <a:gd name="T17" fmla="*/ 6 h 91"/>
                <a:gd name="T18" fmla="*/ 102 w 109"/>
                <a:gd name="T19" fmla="*/ 30 h 91"/>
                <a:gd name="T20" fmla="*/ 49 w 109"/>
                <a:gd name="T21" fmla="*/ 86 h 91"/>
                <a:gd name="T22" fmla="*/ 37 w 109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91">
                  <a:moveTo>
                    <a:pt x="37" y="91"/>
                  </a:moveTo>
                  <a:cubicBezTo>
                    <a:pt x="36" y="91"/>
                    <a:pt x="36" y="91"/>
                    <a:pt x="35" y="91"/>
                  </a:cubicBezTo>
                  <a:cubicBezTo>
                    <a:pt x="30" y="91"/>
                    <a:pt x="25" y="88"/>
                    <a:pt x="23" y="84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0" y="51"/>
                    <a:pt x="3" y="40"/>
                    <a:pt x="10" y="35"/>
                  </a:cubicBezTo>
                  <a:cubicBezTo>
                    <a:pt x="18" y="30"/>
                    <a:pt x="28" y="32"/>
                    <a:pt x="34" y="40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4" y="0"/>
                    <a:pt x="95" y="0"/>
                    <a:pt x="102" y="6"/>
                  </a:cubicBezTo>
                  <a:cubicBezTo>
                    <a:pt x="108" y="12"/>
                    <a:pt x="109" y="23"/>
                    <a:pt x="102" y="30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6" y="89"/>
                    <a:pt x="41" y="91"/>
                    <a:pt x="37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45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6" name="TextBox 17">
            <a:extLst>
              <a:ext uri="{FF2B5EF4-FFF2-40B4-BE49-F238E27FC236}">
                <a16:creationId xmlns:a16="http://schemas.microsoft.com/office/drawing/2014/main" id="{26F971D0-8D63-4343-A15C-CE31FB2B4A4E}"/>
              </a:ext>
            </a:extLst>
          </p:cNvPr>
          <p:cNvSpPr txBox="1"/>
          <p:nvPr/>
        </p:nvSpPr>
        <p:spPr>
          <a:xfrm>
            <a:off x="1472744" y="3079501"/>
            <a:ext cx="10047362" cy="39780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95000"/>
              <a:buFont typeface="Arial" panose="020B0604020202020204" pitchFamily="34" charset="0"/>
              <a:buChar char="►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600"/>
              </a:spcBef>
              <a:buClr>
                <a:srgbClr val="006AB2"/>
              </a:buClr>
              <a:buNone/>
            </a:pPr>
            <a:r>
              <a:rPr lang="fr-FR" sz="1400" b="1" dirty="0">
                <a:solidFill>
                  <a:srgbClr val="006AB2"/>
                </a:solidFill>
              </a:rPr>
              <a:t>Dans le fichier Excel, les critères sont regroupés en famille qui recouvrent les familles de l’éthique clinique : </a:t>
            </a:r>
            <a:endParaRPr lang="fr-FR" sz="1400" b="1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accent1"/>
                </a:solidFill>
              </a:rPr>
              <a:t>Bienfaisance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: Critères précisant de quelle manière les logiciels utilisés dans les secteurs social et médico-social répondent aux besoins des utilisateurs et comment leur utilisation leur procure un bénéfice.</a:t>
            </a: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accent1"/>
                </a:solidFill>
              </a:rPr>
              <a:t>Non malfaisance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: Critères précisant de quelle manière les logiciels utilisés dans les secteurs social et médico-social ne sont pas toxiques pour leurs utilisateurs, ne leur font pas de mal et ne leur causent aucun préjudice. </a:t>
            </a: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accent1"/>
                </a:solidFill>
              </a:rPr>
              <a:t>Justice / équité :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Critères précisant de quelle manière les logiciels utilisés dans les secteurs social et médico-social permettent aux utilisateurs d’être juste dans leur accompagnement des résidents ou personnes accompagnées.</a:t>
            </a:r>
            <a:endParaRPr lang="fr-FR" sz="1400" b="1" dirty="0">
              <a:solidFill>
                <a:schemeClr val="accent1"/>
              </a:solidFill>
            </a:endParaRP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accent1"/>
                </a:solidFill>
              </a:rPr>
              <a:t>Autonomie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: Critères précisant de quelle manière les logiciels utilisés dans les secteurs social et médico-social préservent l’autonomie décisionnelle de leurs utilisateurs, leur capacité à s’autodéterminer</a:t>
            </a: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accent1"/>
                </a:solidFill>
              </a:rPr>
              <a:t>Développement durable 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: Critères permettant de garantir l’engagement des éditeurs dans une démarche de développement durable, d’évaluation de l’impact environnemental de leurs solutions informatiques, et d’amélioration continue</a:t>
            </a: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Tx/>
              <a:buChar char="-"/>
            </a:pP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 algn="just">
              <a:spcBef>
                <a:spcPts val="600"/>
              </a:spcBef>
              <a:buClr>
                <a:srgbClr val="006AB2"/>
              </a:buClr>
              <a:buFontTx/>
              <a:buChar char="-"/>
            </a:pP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780658CA-FA83-49E3-9295-771D20319B61}"/>
              </a:ext>
            </a:extLst>
          </p:cNvPr>
          <p:cNvSpPr txBox="1"/>
          <p:nvPr/>
        </p:nvSpPr>
        <p:spPr>
          <a:xfrm>
            <a:off x="284104" y="6502400"/>
            <a:ext cx="10692459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fr-FR" sz="1400" b="1" dirty="0">
                <a:solidFill>
                  <a:srgbClr val="006AB2"/>
                </a:solidFill>
                <a:cs typeface="Arial"/>
              </a:rPr>
              <a:t>Pour toute précision, n’hésitez </a:t>
            </a:r>
            <a:r>
              <a:rPr lang="fr-FR" sz="1400" b="1">
                <a:solidFill>
                  <a:srgbClr val="006AB2"/>
                </a:solidFill>
                <a:cs typeface="Arial"/>
              </a:rPr>
              <a:t>pas à contacter </a:t>
            </a:r>
            <a:r>
              <a:rPr lang="fr-FR" sz="1400" b="1" dirty="0">
                <a:solidFill>
                  <a:srgbClr val="006AB2"/>
                </a:solidFill>
                <a:cs typeface="Arial"/>
              </a:rPr>
              <a:t>: </a:t>
            </a:r>
            <a:r>
              <a:rPr lang="fr-FR" sz="1400" b="1" dirty="0">
                <a:solidFill>
                  <a:srgbClr val="0000FF"/>
                </a:solidFill>
                <a:cs typeface="Arial"/>
                <a:hlinkClick r:id="rId3"/>
              </a:rPr>
              <a:t>brigitte.seroussi@sante.gouv.fr</a:t>
            </a:r>
            <a:r>
              <a:rPr lang="fr-FR" sz="1400" b="1" dirty="0">
                <a:solidFill>
                  <a:srgbClr val="006AB2"/>
                </a:solidFill>
                <a:cs typeface="Arial"/>
              </a:rPr>
              <a:t> et </a:t>
            </a:r>
            <a:r>
              <a:rPr lang="fr-FR" sz="1400" b="1" dirty="0">
                <a:solidFill>
                  <a:srgbClr val="0000FF"/>
                </a:solidFill>
                <a:cs typeface="Arial"/>
                <a:hlinkClick r:id="rId4"/>
              </a:rPr>
              <a:t>caroline.courde.ext@esante.gouv.fr</a:t>
            </a:r>
            <a:r>
              <a:rPr lang="fr-FR" sz="1400" dirty="0">
                <a:solidFill>
                  <a:srgbClr val="006AB2"/>
                </a:solidFill>
                <a:cs typeface="Arial"/>
              </a:rPr>
              <a:t>​</a:t>
            </a:r>
            <a:endParaRPr lang="fr-FR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8EA3BD2-F24B-1344-9B2F-71303CABA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8" y="257365"/>
            <a:ext cx="9697339" cy="384721"/>
          </a:xfrm>
        </p:spPr>
        <p:txBody>
          <a:bodyPr/>
          <a:lstStyle/>
          <a:p>
            <a:r>
              <a:rPr lang="fr-FR" dirty="0"/>
              <a:t>Éthique du numérique en santé 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70D62403-2E94-F745-BC16-6C242D9A7772}"/>
              </a:ext>
            </a:extLst>
          </p:cNvPr>
          <p:cNvSpPr txBox="1"/>
          <p:nvPr/>
        </p:nvSpPr>
        <p:spPr>
          <a:xfrm>
            <a:off x="465263" y="585943"/>
            <a:ext cx="8163344" cy="110799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fr-FR" sz="2200" b="0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rgbClr val="00A1E0"/>
                </a:solidFill>
                <a:effectLst/>
                <a:uLnTx/>
                <a:uFillTx/>
                <a:ea typeface="+mn-lt"/>
                <a:cs typeface="+mn-lt"/>
              </a:rPr>
              <a:t>Evaluation de la grille « Ethique des SI ESMS » par les structures </a:t>
            </a:r>
            <a:r>
              <a:rPr lang="fr-FR" sz="2200">
                <a:ln w="6350" cap="flat">
                  <a:noFill/>
                  <a:miter lim="800000"/>
                </a:ln>
                <a:solidFill>
                  <a:srgbClr val="00A1E0"/>
                </a:solidFill>
                <a:ea typeface="+mn-lt"/>
                <a:cs typeface="+mn-lt"/>
              </a:rPr>
              <a:t>du social et du médico-social</a:t>
            </a:r>
          </a:p>
          <a:p>
            <a:pPr marL="0" marR="0" lvl="0" indent="0" algn="l" defTabSz="9144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2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A1E0"/>
              </a:solidFill>
              <a:effectLst/>
              <a:uLnTx/>
              <a:uFillTx/>
              <a:latin typeface="Marianne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732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EMPLATELASTEDITED" val="2020-10-22 01:56 PM"/>
  <p:tag name="THINKCELLPRESENTATIONDONOTDELETE" val="&lt;?xml version=&quot;1.0&quot; encoding=&quot;UTF-16&quot; standalone=&quot;yes&quot;?&gt;&lt;root reqver=&quot;25060&quot;&gt;&lt;version val=&quot;284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TBTACCENT" val="Accent3ColorBoldText"/>
  <p:tag name="THINKCELLUNDODONOTDELETE" val="0"/>
  <p:tag name="LASTSLIDEVIEWED" val="2147470191,1,Éthique du numérique en santé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25b8110b-6545-426d-a140-b756b563d293&quot; IsConsolidated=&quot;False&quot; IsTopLevel=&quot;False&quot; Layer=&quot;Harvey 4&quot; Source=&quot;Harvey 4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25b8110b-6545-426d-a140-b756b563d293&quot; IsConsolidated=&quot;False&quot; IsTopLevel=&quot;False&quot; Layer=&quot;Harvey 1/4 [1]&quot; Source=&quot;Harvey 4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Bars 4&quot; Source=&quot;Bars 4&quot; /&gt;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eter&quot; Source=&quot;Meter&quot; /&gt;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0% [1+]&quot; Source=&quot;Meter&quot; /&gt;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10% [1+]&quot; Source=&quot;Meter&quot; /&gt;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20% [2+]&quot; Source=&quot;Meter&quot; /&gt;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30% [3+]&quot; Source=&quot;Meter&quot; /&gt;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40% [4+]&quot; Source=&quot;Meter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50% [5+]&quot; Source=&quot;Meter&quot; /&gt;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60% [6+]&quot; Source=&quot;Meter&quot; /&gt;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70% [7+]&quot; Source=&quot;Meter&quot; /&gt;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80% [8+]&quot; Source=&quot;Meter&quot; /&gt;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90% [9+]&quot; Source=&quot;Meter&quot; /&gt;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100% [10+]&quot; Source=&quot;Meter&quot; /&gt;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1/4 [1+]&quot; Source=&quot;Bars 4&quot; /&gt;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2/4 [2+]&quot; Source=&quot;Bars 4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3/4 [3+]&quot; Source=&quot;Bars 4&quot; /&gt;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4/4 [4+]&quot; Source=&quot;Bars 4&quot; /&gt;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Bars 4&quot; Source=&quot;Bars 4&quot; /&gt;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eter&quot; Source=&quot;Meter&quot; /&gt;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Background [-1]&quot; Source=&quot;Meter&quot; /&gt;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0% [1+]&quot; Source=&quot;Meter&quot; /&gt;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10% [1+]&quot; Source=&quot;Meter&quot; /&gt;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20% [2+]&quot; Source=&quot;Meter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30% [3+]&quot; Source=&quot;Meter&quot; /&gt;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40% [4+]&quot; Source=&quot;Meter&quot; /&gt;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50% [5+]&quot; Source=&quot;Meter&quot; /&gt;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60% [6+]&quot; Source=&quot;Meter&quot; /&gt;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70% [7+]&quot; Source=&quot;Meter&quot; /&gt;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80% [8+]&quot; Source=&quot;Meter&quot; /&gt;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90% [9+]&quot; Source=&quot;Meter&quot; /&gt;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bc10e96c-bc00-4cd5-bc34-25a77b2b7012&quot; /&gt;"/>
  <p:tag name="SP_POWERSHAPE" val="&lt;PowerShapeTag ClassVersion=&quot;0&quot; GUID=&quot;28a00c0f-c526-4b5e-bf28-a7520f97dada&quot; IsConsolidated=&quot;False&quot; IsTopLevel=&quot;False&quot; Layer=&quot;Mark 100% [10+]&quot; Source=&quot;Meter&quot; /&gt;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1/4 [1+]&quot; Source=&quot;Bars 4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2/4 [2+]&quot; Source=&quot;Bars 4&quot; /&gt;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3/4 [3+]&quot; Source=&quot;Bars 4&quot; /&gt;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0/4 [0+]&quot; Source=&quot;Bars 4&quot; /&gt;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65780c0d-3390-4ef7-9aeb-cbc21bc5d2ba&quot; /&gt;"/>
  <p:tag name="SP_POWERSHAPE" val="&lt;PowerShapeTag ClassVersion=&quot;0&quot; GUID=&quot;d8ef83ef-1a89-451c-8897-bb7860acd75c&quot; IsConsolidated=&quot;False&quot; IsTopLevel=&quot;False&quot; Layer=&quot;4/4 [4+]&quot; Source=&quot;Bars 4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heme/theme1.xml><?xml version="1.0" encoding="utf-8"?>
<a:theme xmlns:a="http://schemas.openxmlformats.org/drawingml/2006/main" name="10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10.xml><?xml version="1.0" encoding="utf-8"?>
<a:theme xmlns:a="http://schemas.openxmlformats.org/drawingml/2006/main" name="6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108000" rIns="72000" bIns="108000" rtlCol="0" anchor="ctr" anchorCtr="0">
        <a:norm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1D0B4528-888A-4F4B-A3C8-6EAC4B100E8E}" vid="{1774E66C-32F2-4469-890D-D4A16E5F2A1A}"/>
    </a:ext>
  </a:extLst>
</a:theme>
</file>

<file path=ppt/theme/theme11.xml><?xml version="1.0" encoding="utf-8"?>
<a:theme xmlns:a="http://schemas.openxmlformats.org/drawingml/2006/main" name="4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108000" rIns="72000" bIns="108000" rtlCol="0" anchor="ctr" anchorCtr="0">
        <a:norm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1D0B4528-888A-4F4B-A3C8-6EAC4B100E8E}" vid="{1774E66C-32F2-4469-890D-D4A16E5F2A1A}"/>
    </a:ext>
  </a:extLst>
</a:theme>
</file>

<file path=ppt/theme/theme1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3.xml><?xml version="1.0" encoding="utf-8"?>
<a:theme xmlns:a="http://schemas.openxmlformats.org/drawingml/2006/main" name="Contrast_FR_PA7711_16x9_OF_v1">
  <a:themeElements>
    <a:clrScheme name="Scheme2">
      <a:dk1>
        <a:srgbClr val="FFFFFF"/>
      </a:dk1>
      <a:lt1>
        <a:srgbClr val="23277E"/>
      </a:lt1>
      <a:dk2>
        <a:srgbClr val="000000"/>
      </a:dk2>
      <a:lt2>
        <a:srgbClr val="000000"/>
      </a:lt2>
      <a:accent1>
        <a:srgbClr val="FFFFFF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23277E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i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5C0CA73F-D1AA-4B2E-9D47-4A6293B7ED26}"/>
    </a:ext>
  </a:extLst>
</a:theme>
</file>

<file path=ppt/theme/theme4.xml><?xml version="1.0" encoding="utf-8"?>
<a:theme xmlns:a="http://schemas.openxmlformats.org/drawingml/2006/main" name="6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5.xml><?xml version="1.0" encoding="utf-8"?>
<a:theme xmlns:a="http://schemas.openxmlformats.org/drawingml/2006/main" name="7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6.xml><?xml version="1.0" encoding="utf-8"?>
<a:theme xmlns:a="http://schemas.openxmlformats.org/drawingml/2006/main" name="3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7.xml><?xml version="1.0" encoding="utf-8"?>
<a:theme xmlns:a="http://schemas.openxmlformats.org/drawingml/2006/main" name="7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1D0B4528-888A-4F4B-A3C8-6EAC4B100E8E}" vid="{1774E66C-32F2-4469-890D-D4A16E5F2A1A}"/>
    </a:ext>
  </a:extLst>
</a:theme>
</file>

<file path=ppt/theme/theme8.xml><?xml version="1.0" encoding="utf-8"?>
<a:theme xmlns:a="http://schemas.openxmlformats.org/drawingml/2006/main" name="2_White_FR_PA7711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3277E"/>
      </a:accent1>
      <a:accent2>
        <a:srgbClr val="EE1C26"/>
      </a:accent2>
      <a:accent3>
        <a:srgbClr val="006AB2"/>
      </a:accent3>
      <a:accent4>
        <a:srgbClr val="95C23D"/>
      </a:accent4>
      <a:accent5>
        <a:srgbClr val="F7D700"/>
      </a:accent5>
      <a:accent6>
        <a:srgbClr val="FF9900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3277E"/>
        </a:accent1>
        <a:accent2>
          <a:srgbClr val="EE1C26"/>
        </a:accent2>
        <a:accent3>
          <a:srgbClr val="006AB2"/>
        </a:accent3>
        <a:accent4>
          <a:srgbClr val="95C23D"/>
        </a:accent4>
        <a:accent5>
          <a:srgbClr val="F7D700"/>
        </a:accent5>
        <a:accent6>
          <a:srgbClr val="FF99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Loght blue">
      <a:srgbClr val="00A1E0"/>
    </a:custClr>
    <a:custClr name="Pink">
      <a:srgbClr val="E94190"/>
    </a:custClr>
    <a:custClr name="Red">
      <a:srgbClr val="B51621"/>
    </a:custClr>
  </a:custClrLst>
  <a:extLst>
    <a:ext uri="{05A4C25C-085E-4340-85A3-A5531E510DB2}">
      <thm15:themeFamily xmlns:thm15="http://schemas.microsoft.com/office/thememl/2012/main" name="FR_PA7711_16x9_OF_v1.potx" id="{122F86BC-F0F6-4473-963E-2AE867F7885E}" vid="{2D961CD9-0486-4B2E-969B-87E8846C172B}"/>
    </a:ext>
  </a:extLst>
</a:theme>
</file>

<file path=ppt/theme/theme9.xml><?xml version="1.0" encoding="utf-8"?>
<a:theme xmlns:a="http://schemas.openxmlformats.org/drawingml/2006/main" name="1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2.2.potx" id="{F7DF5B5A-84BF-495B-A4B7-D2C2EF6DAA70}" vid="{EBA46EF0-C239-4070-B26E-4406F29AD00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EF62E73A527B4DBA54BF058ADA813D" ma:contentTypeVersion="15" ma:contentTypeDescription="Crée un document." ma:contentTypeScope="" ma:versionID="6c49c0864c1304493827e5305a049157">
  <xsd:schema xmlns:xsd="http://www.w3.org/2001/XMLSchema" xmlns:xs="http://www.w3.org/2001/XMLSchema" xmlns:p="http://schemas.microsoft.com/office/2006/metadata/properties" xmlns:ns2="88e916e5-3a8e-49cb-bb7e-99ac506387c7" xmlns:ns3="68bb82bb-fd67-4144-ba1f-dc6209caa784" targetNamespace="http://schemas.microsoft.com/office/2006/metadata/properties" ma:root="true" ma:fieldsID="38bee685e09850bc63ae10dfefc7c598" ns2:_="" ns3:_="">
    <xsd:import namespace="88e916e5-3a8e-49cb-bb7e-99ac506387c7"/>
    <xsd:import namespace="68bb82bb-fd67-4144-ba1f-dc6209caa7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e916e5-3a8e-49cb-bb7e-99ac506387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c4480557-28ee-4200-b705-f4b4ceb9c1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bb82bb-fd67-4144-ba1f-dc6209caa78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d110343-042f-4ddc-be92-ec91a7ac99e0}" ma:internalName="TaxCatchAll" ma:showField="CatchAllData" ma:web="68bb82bb-fd67-4144-ba1f-dc6209caa7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8bb82bb-fd67-4144-ba1f-dc6209caa784" xsi:nil="true"/>
    <lcf76f155ced4ddcb4097134ff3c332f xmlns="88e916e5-3a8e-49cb-bb7e-99ac506387c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71FB250-5245-4BF6-AB43-090DBDAD44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D6A314-8247-44FD-ACD7-D6261363C1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e916e5-3a8e-49cb-bb7e-99ac506387c7"/>
    <ds:schemaRef ds:uri="68bb82bb-fd67-4144-ba1f-dc6209caa7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0F347B5-9746-4659-84F4-E303E9CCC26E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terms/"/>
    <ds:schemaRef ds:uri="http://purl.org/dc/dcmitype/"/>
    <ds:schemaRef ds:uri="http://schemas.openxmlformats.org/package/2006/metadata/core-properties"/>
    <ds:schemaRef ds:uri="1112154c-ccbe-4a5a-8eb7-11a0b0d4c681"/>
    <ds:schemaRef ds:uri="1bd0ad91-5db7-422e-b860-76d24aedb08c"/>
    <ds:schemaRef ds:uri="http://schemas.microsoft.com/office/2006/metadata/properties"/>
    <ds:schemaRef ds:uri="68bb82bb-fd67-4144-ba1f-dc6209caa784"/>
    <ds:schemaRef ds:uri="88e916e5-3a8e-49cb-bb7e-99ac506387c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ANS - client version</Template>
  <TotalTime>4494</TotalTime>
  <Words>576</Words>
  <Application>Microsoft Office PowerPoint</Application>
  <PresentationFormat>Grand écran</PresentationFormat>
  <Paragraphs>41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</vt:i4>
      </vt:variant>
    </vt:vector>
  </HeadingPairs>
  <TitlesOfParts>
    <vt:vector size="24" baseType="lpstr">
      <vt:lpstr>Arial</vt:lpstr>
      <vt:lpstr>Bahnschrift Condensed</vt:lpstr>
      <vt:lpstr>Calibri</vt:lpstr>
      <vt:lpstr>Marianne</vt:lpstr>
      <vt:lpstr>Marianne Light</vt:lpstr>
      <vt:lpstr>Segoe UI</vt:lpstr>
      <vt:lpstr>Webdings</vt:lpstr>
      <vt:lpstr>Wingdings</vt:lpstr>
      <vt:lpstr>Wingdings 3</vt:lpstr>
      <vt:lpstr>10_White_FR_PA7711_16x9_OF_v1</vt:lpstr>
      <vt:lpstr>1_White_FR_PA7711_16x9_OF_v1</vt:lpstr>
      <vt:lpstr>Contrast_FR_PA7711_16x9_OF_v1</vt:lpstr>
      <vt:lpstr>6_White_FR_PA7711_16x9_OF_v1</vt:lpstr>
      <vt:lpstr>7_White_FR_PA7711_16x9_OF_v1</vt:lpstr>
      <vt:lpstr>3_White_FR_PA7711_16x9_OF_v1</vt:lpstr>
      <vt:lpstr>7_ANS_THEME STANDARD_V1.0</vt:lpstr>
      <vt:lpstr>2_White_FR_PA7711_16x9_OF_v1</vt:lpstr>
      <vt:lpstr>1_ANS_THEME STANDARD_V1.0</vt:lpstr>
      <vt:lpstr>6_ANS_THEME STANDARD_V1.0</vt:lpstr>
      <vt:lpstr>4_ANS_THEME STANDARD_V1.0</vt:lpstr>
      <vt:lpstr>think-cell Slide</vt:lpstr>
      <vt:lpstr>Diapositive think-cell</vt:lpstr>
      <vt:lpstr>Éthique du numérique en santé </vt:lpstr>
      <vt:lpstr>Éthique du numérique en santé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(Arial 44 pt, bold bottom-aligned)</dc:title>
  <dc:subject/>
  <dc:creator>Edouard Paya</dc:creator>
  <cp:keywords/>
  <dc:description/>
  <cp:lastModifiedBy>Antoine MANCEAU (FR)</cp:lastModifiedBy>
  <cp:revision>44</cp:revision>
  <cp:lastPrinted>2018-10-30T20:37:12Z</cp:lastPrinted>
  <dcterms:created xsi:type="dcterms:W3CDTF">2020-10-23T15:06:33Z</dcterms:created>
  <dcterms:modified xsi:type="dcterms:W3CDTF">2023-09-14T17:59:0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10-22 01:56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F1EF62E73A527B4DBA54BF058ADA813D</vt:lpwstr>
  </property>
  <property fmtid="{D5CDD505-2E9C-101B-9397-08002B2CF9AE}" pid="10" name="MSIP_Label_ae8fab06-504b-4325-93a9-50ca85e66f06_Enabled">
    <vt:lpwstr>true</vt:lpwstr>
  </property>
  <property fmtid="{D5CDD505-2E9C-101B-9397-08002B2CF9AE}" pid="11" name="MSIP_Label_ae8fab06-504b-4325-93a9-50ca85e66f06_SetDate">
    <vt:lpwstr>2021-09-01T10:21:22Z</vt:lpwstr>
  </property>
  <property fmtid="{D5CDD505-2E9C-101B-9397-08002B2CF9AE}" pid="12" name="MSIP_Label_ae8fab06-504b-4325-93a9-50ca85e66f06_Method">
    <vt:lpwstr>Standard</vt:lpwstr>
  </property>
  <property fmtid="{D5CDD505-2E9C-101B-9397-08002B2CF9AE}" pid="13" name="MSIP_Label_ae8fab06-504b-4325-93a9-50ca85e66f06_Name">
    <vt:lpwstr>C-Confidentiel</vt:lpwstr>
  </property>
  <property fmtid="{D5CDD505-2E9C-101B-9397-08002B2CF9AE}" pid="14" name="MSIP_Label_ae8fab06-504b-4325-93a9-50ca85e66f06_SiteId">
    <vt:lpwstr>41d9a388-7aef-420d-976c-d046beab641f</vt:lpwstr>
  </property>
  <property fmtid="{D5CDD505-2E9C-101B-9397-08002B2CF9AE}" pid="15" name="MSIP_Label_ae8fab06-504b-4325-93a9-50ca85e66f06_ActionId">
    <vt:lpwstr>f68b4031-3869-4f15-b270-ca5d7d13d1c6</vt:lpwstr>
  </property>
  <property fmtid="{D5CDD505-2E9C-101B-9397-08002B2CF9AE}" pid="16" name="MSIP_Label_ae8fab06-504b-4325-93a9-50ca85e66f06_ContentBits">
    <vt:lpwstr>0</vt:lpwstr>
  </property>
  <property fmtid="{D5CDD505-2E9C-101B-9397-08002B2CF9AE}" pid="17" name="MediaServiceImageTags">
    <vt:lpwstr/>
  </property>
</Properties>
</file>